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256" r:id="rId5"/>
    <p:sldId id="277" r:id="rId6"/>
    <p:sldId id="258" r:id="rId7"/>
    <p:sldId id="304" r:id="rId8"/>
    <p:sldId id="305" r:id="rId9"/>
    <p:sldId id="306" r:id="rId10"/>
    <p:sldId id="307" r:id="rId11"/>
    <p:sldId id="308" r:id="rId12"/>
    <p:sldId id="309" r:id="rId13"/>
    <p:sldId id="310" r:id="rId14"/>
    <p:sldId id="272" r:id="rId15"/>
    <p:sldId id="285" r:id="rId16"/>
    <p:sldId id="312" r:id="rId17"/>
    <p:sldId id="313" r:id="rId18"/>
    <p:sldId id="315" r:id="rId19"/>
    <p:sldId id="314" r:id="rId20"/>
    <p:sldId id="321" r:id="rId21"/>
    <p:sldId id="316" r:id="rId22"/>
    <p:sldId id="273" r:id="rId23"/>
    <p:sldId id="290" r:id="rId24"/>
    <p:sldId id="317" r:id="rId25"/>
    <p:sldId id="274" r:id="rId26"/>
    <p:sldId id="295" r:id="rId27"/>
    <p:sldId id="318" r:id="rId28"/>
    <p:sldId id="322" r:id="rId29"/>
    <p:sldId id="319" r:id="rId30"/>
    <p:sldId id="320" r:id="rId31"/>
    <p:sldId id="261" r:id="rId32"/>
  </p:sldIdLst>
  <p:sldSz cx="12192000" cy="6858000"/>
  <p:notesSz cx="6858000" cy="9144000"/>
  <p:custDataLst>
    <p:tags r:id="rId3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3F82C4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FF10A4-C027-431C-8B0E-7F31478AA975}" v="552" dt="2022-11-25T11:28:13.0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92" d="100"/>
          <a:sy n="92" d="100"/>
        </p:scale>
        <p:origin x="-8" y="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12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6629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12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546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216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>
            <a:fillRect/>
          </a:stretch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/>
          <p:cNvCxnSpPr/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4/12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4/12/26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microsoft.com/office/2007/relationships/hdphoto" Target="../media/hdphoto3.wdp"/><Relationship Id="rId10" Type="http://schemas.microsoft.com/office/2007/relationships/hdphoto" Target="../media/hdphoto5.wdp"/><Relationship Id="rId4" Type="http://schemas.openxmlformats.org/officeDocument/2006/relationships/image" Target="../media/image7.png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file:///C:\Users\surface\Desktop\&#26376;&#20043;&#26263;&#38754;&#28201;&#24230;&#37319;&#38598;&#31995;&#32479;.lnk" TargetMode="Externa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.xml"/><Relationship Id="rId7" Type="http://schemas.openxmlformats.org/officeDocument/2006/relationships/image" Target="../media/image20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microsoft.com/office/2007/relationships/hdphoto" Target="../media/hdphoto6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956127" y="5659141"/>
            <a:ext cx="7175501" cy="341632"/>
          </a:xfrm>
        </p:spPr>
        <p:txBody>
          <a:bodyPr>
            <a:spAutoFit/>
          </a:bodyPr>
          <a:lstStyle/>
          <a:p>
            <a:pPr lvl="0">
              <a:defRPr/>
            </a:pPr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70434" y="3475077"/>
            <a:ext cx="8060765" cy="1920526"/>
          </a:xfrm>
        </p:spPr>
        <p:txBody>
          <a:bodyPr wrap="square">
            <a:spAutoFit/>
          </a:bodyPr>
          <a:lstStyle/>
          <a:p>
            <a:pPr lvl="0">
              <a:defRPr/>
            </a:pPr>
            <a:br>
              <a:rPr lang="en-US" altLang="zh-CN" sz="4400" b="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4400" b="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基于</a:t>
            </a:r>
            <a:r>
              <a:rPr lang="en-US" altLang="zh-CN" sz="4400" b="0" dirty="0">
                <a:solidFill>
                  <a:srgbClr val="3F82C4"/>
                </a:solidFill>
                <a:latin typeface="+mn-lt"/>
                <a:ea typeface="+mn-ea"/>
                <a:cs typeface="+mn-ea"/>
                <a:sym typeface="+mn-lt"/>
              </a:rPr>
              <a:t>DS18</a:t>
            </a:r>
            <a:r>
              <a:rPr lang="en-US" altLang="zh-CN" sz="4400" b="0" dirty="0">
                <a:latin typeface="+mn-lt"/>
                <a:ea typeface="+mn-ea"/>
                <a:cs typeface="+mn-ea"/>
                <a:sym typeface="+mn-lt"/>
              </a:rPr>
              <a:t>B20</a:t>
            </a:r>
            <a:r>
              <a:rPr lang="zh-CN" altLang="en-US" sz="4400" b="0" dirty="0">
                <a:latin typeface="+mn-lt"/>
                <a:ea typeface="+mn-ea"/>
                <a:cs typeface="+mn-ea"/>
                <a:sym typeface="+mn-lt"/>
              </a:rPr>
              <a:t>的</a:t>
            </a:r>
            <a:br>
              <a:rPr lang="en-US" altLang="zh-CN" sz="4400" b="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4400" b="0" dirty="0">
                <a:latin typeface="+mn-lt"/>
                <a:ea typeface="+mn-ea"/>
                <a:cs typeface="+mn-ea"/>
                <a:sym typeface="+mn-lt"/>
              </a:rPr>
              <a:t>月之暗面温度采集系统</a:t>
            </a:r>
            <a:endParaRPr lang="zh-CN" altLang="en-US" sz="4400" b="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B2F3D74-28B4-7D19-0225-A972D249D12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21" y="5180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3D9DB-71E8-BB71-F0AC-F353530B94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64416DC2-0F4F-8E20-91F3-341FB30025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6" name="圆: 空心 5">
            <a:extLst>
              <a:ext uri="{FF2B5EF4-FFF2-40B4-BE49-F238E27FC236}">
                <a16:creationId xmlns:a16="http://schemas.microsoft.com/office/drawing/2014/main" id="{B6FC2C57-5848-2037-40CA-55D5DFFAA2DD}"/>
              </a:ext>
            </a:extLst>
          </p:cNvPr>
          <p:cNvSpPr/>
          <p:nvPr/>
        </p:nvSpPr>
        <p:spPr>
          <a:xfrm>
            <a:off x="-1504335" y="-9860790"/>
            <a:ext cx="24102348" cy="24102348"/>
          </a:xfrm>
          <a:prstGeom prst="donut">
            <a:avLst>
              <a:gd name="adj" fmla="val 47007"/>
            </a:avLst>
          </a:prstGeom>
          <a:solidFill>
            <a:srgbClr val="000000">
              <a:alpha val="80000"/>
            </a:srgbClr>
          </a:solidFill>
          <a:ln>
            <a:solidFill>
              <a:srgbClr val="FFFFFF">
                <a:alpha val="80000"/>
              </a:srgbClr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B2E826E9-9504-5433-AB56-32D0C9709AF8}"/>
              </a:ext>
            </a:extLst>
          </p:cNvPr>
          <p:cNvGrpSpPr/>
          <p:nvPr/>
        </p:nvGrpSpPr>
        <p:grpSpPr>
          <a:xfrm>
            <a:off x="4153001" y="897510"/>
            <a:ext cx="5021336" cy="3677490"/>
            <a:chOff x="4153001" y="897510"/>
            <a:chExt cx="5021336" cy="3677490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6AC4C76C-3735-F703-7744-FC7773D23B77}"/>
                </a:ext>
              </a:extLst>
            </p:cNvPr>
            <p:cNvGrpSpPr/>
            <p:nvPr/>
          </p:nvGrpSpPr>
          <p:grpSpPr>
            <a:xfrm>
              <a:off x="4153001" y="897510"/>
              <a:ext cx="5021336" cy="924076"/>
              <a:chOff x="1072848" y="1676184"/>
              <a:chExt cx="5023152" cy="924076"/>
            </a:xfrm>
          </p:grpSpPr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ACE447E2-39A9-630E-BE80-DD4F9D8530BB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TextBox 9">
                <a:extLst>
                  <a:ext uri="{FF2B5EF4-FFF2-40B4-BE49-F238E27FC236}">
                    <a16:creationId xmlns:a16="http://schemas.microsoft.com/office/drawing/2014/main" id="{7A2B5289-2B4B-4649-332B-8F3067CBA3A4}"/>
                  </a:ext>
                </a:extLst>
              </p:cNvPr>
              <p:cNvSpPr txBox="1"/>
              <p:nvPr/>
            </p:nvSpPr>
            <p:spPr bwMode="auto">
              <a:xfrm>
                <a:off x="2174509" y="1968859"/>
                <a:ext cx="3233663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400">
                  <a:defRPr/>
                </a:pPr>
                <a:r>
                  <a:rPr lang="en-US" altLang="zh-CN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H340</a:t>
                </a: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串口转接器</a:t>
                </a: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FC4EDB6-7326-D11F-5437-D596685199A0}"/>
                </a:ext>
              </a:extLst>
            </p:cNvPr>
            <p:cNvSpPr txBox="1"/>
            <p:nvPr/>
          </p:nvSpPr>
          <p:spPr>
            <a:xfrm>
              <a:off x="4444180" y="2266676"/>
              <a:ext cx="4631834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CH340T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是一种</a:t>
              </a:r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USB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总线的转接芯片，它可以实现</a:t>
              </a:r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USB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转串口、</a:t>
              </a:r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USB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转</a:t>
              </a:r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IrDA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红外或者</a:t>
              </a:r>
              <a:r>
                <a:rPr lang="en-US" altLang="zh-CN" b="0" i="0" dirty="0">
                  <a:solidFill>
                    <a:schemeClr val="bg1"/>
                  </a:solidFill>
                  <a:effectLst/>
                  <a:latin typeface="-apple-system"/>
                </a:rPr>
                <a:t>USB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转打印口的功能。</a:t>
              </a:r>
              <a:endParaRPr lang="en-US" altLang="zh-CN" dirty="0">
                <a:solidFill>
                  <a:schemeClr val="bg1"/>
                </a:solidFill>
                <a:latin typeface="-apple-system"/>
              </a:endParaRPr>
            </a:p>
            <a:p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这种芯片广泛应用于需要串口通信的场合，如嵌入式系统开发、工业控制、数据采集</a:t>
              </a:r>
              <a:r>
                <a:rPr lang="zh-CN" altLang="en-US" b="0" i="0" dirty="0">
                  <a:effectLst/>
                  <a:latin typeface="-apple-system"/>
                </a:rPr>
                <a:t>等</a:t>
              </a:r>
              <a:r>
                <a:rPr lang="zh-CN" altLang="en-US" b="0" i="0" dirty="0">
                  <a:solidFill>
                    <a:schemeClr val="bg1"/>
                  </a:solidFill>
                  <a:effectLst/>
                  <a:latin typeface="-apple-system"/>
                </a:rPr>
                <a:t>领域。</a:t>
              </a:r>
              <a:endParaRPr lang="en-US" altLang="zh-CN" b="0" i="0" dirty="0">
                <a:solidFill>
                  <a:schemeClr val="bg1"/>
                </a:solidFill>
                <a:effectLst/>
                <a:latin typeface="-apple-system"/>
              </a:endParaRPr>
            </a:p>
            <a:p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本次我们将</a:t>
              </a:r>
              <a:r>
                <a:rPr lang="en-US" altLang="zh-CN" dirty="0">
                  <a:solidFill>
                    <a:schemeClr val="bg1"/>
                  </a:solidFill>
                  <a:latin typeface="-apple-system"/>
                </a:rPr>
                <a:t>CH340</a:t>
              </a:r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的第</a:t>
              </a:r>
              <a:r>
                <a:rPr lang="en-US" altLang="zh-CN" dirty="0">
                  <a:solidFill>
                    <a:schemeClr val="bg1"/>
                  </a:solidFill>
                  <a:latin typeface="-apple-system"/>
                </a:rPr>
                <a:t>3</a:t>
              </a:r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、</a:t>
              </a:r>
              <a:r>
                <a:rPr lang="en-US" altLang="zh-CN" dirty="0">
                  <a:solidFill>
                    <a:schemeClr val="bg1"/>
                  </a:solidFill>
                  <a:latin typeface="-apple-system"/>
                </a:rPr>
                <a:t>4</a:t>
              </a:r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脚连接到单片机上的</a:t>
              </a:r>
              <a:r>
                <a:rPr lang="en-US" altLang="zh-CN" dirty="0">
                  <a:solidFill>
                    <a:schemeClr val="bg1"/>
                  </a:solidFill>
                  <a:latin typeface="-apple-system"/>
                </a:rPr>
                <a:t>P3.1</a:t>
              </a:r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和</a:t>
              </a:r>
              <a:r>
                <a:rPr lang="en-US" altLang="zh-CN" dirty="0">
                  <a:solidFill>
                    <a:schemeClr val="bg1"/>
                  </a:solidFill>
                  <a:latin typeface="-apple-system"/>
                </a:rPr>
                <a:t>P3.1</a:t>
              </a:r>
              <a:r>
                <a:rPr lang="zh-CN" altLang="en-US" dirty="0">
                  <a:solidFill>
                    <a:schemeClr val="bg1"/>
                  </a:solidFill>
                  <a:latin typeface="-apple-system"/>
                </a:rPr>
                <a:t>上来实现串口数据的传递。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14620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52098" y="3004268"/>
            <a:ext cx="5419185" cy="424732"/>
          </a:xfrm>
        </p:spPr>
        <p:txBody>
          <a:bodyPr>
            <a:sp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代码层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353214" y="3733086"/>
            <a:ext cx="5419185" cy="314894"/>
          </a:xfrm>
        </p:spPr>
        <p:txBody>
          <a:bodyPr>
            <a:spAutoFit/>
          </a:bodyPr>
          <a:lstStyle/>
          <a:p>
            <a:pPr lvl="0"/>
            <a:r>
              <a:rPr lang="zh-CN" altLang="en-US" dirty="0">
                <a:cs typeface="+mn-ea"/>
                <a:sym typeface="+mn-lt"/>
              </a:rPr>
              <a:t>本次我们实现了</a:t>
            </a:r>
            <a:r>
              <a:rPr lang="en-US" altLang="zh-CN" dirty="0">
                <a:cs typeface="+mn-ea"/>
                <a:sym typeface="+mn-lt"/>
              </a:rPr>
              <a:t>MySQL</a:t>
            </a:r>
            <a:r>
              <a:rPr lang="zh-CN" altLang="en-US" dirty="0">
                <a:cs typeface="+mn-ea"/>
                <a:sym typeface="+mn-lt"/>
              </a:rPr>
              <a:t>数据库、</a:t>
            </a:r>
            <a:r>
              <a:rPr lang="en-US" altLang="zh-CN" dirty="0">
                <a:cs typeface="+mn-ea"/>
                <a:sym typeface="+mn-lt"/>
              </a:rPr>
              <a:t>51</a:t>
            </a:r>
            <a:r>
              <a:rPr lang="zh-CN" altLang="en-US" dirty="0">
                <a:cs typeface="+mn-ea"/>
                <a:sym typeface="+mn-lt"/>
              </a:rPr>
              <a:t>单片机、</a:t>
            </a:r>
            <a:r>
              <a:rPr lang="en-US" altLang="zh-CN" dirty="0">
                <a:cs typeface="+mn-ea"/>
                <a:sym typeface="+mn-lt"/>
              </a:rPr>
              <a:t>Python</a:t>
            </a:r>
            <a:r>
              <a:rPr lang="zh-CN" altLang="en-US" dirty="0">
                <a:cs typeface="+mn-ea"/>
                <a:sym typeface="+mn-lt"/>
              </a:rPr>
              <a:t>语言和</a:t>
            </a:r>
            <a:r>
              <a:rPr lang="en-US" altLang="zh-CN" dirty="0">
                <a:cs typeface="+mn-ea"/>
                <a:sym typeface="+mn-lt"/>
              </a:rPr>
              <a:t>C</a:t>
            </a:r>
            <a:r>
              <a:rPr lang="zh-CN" altLang="en-US" dirty="0">
                <a:cs typeface="+mn-ea"/>
                <a:sym typeface="+mn-lt"/>
              </a:rPr>
              <a:t>语言完全闭环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</a:t>
            </a:r>
            <a:r>
              <a:rPr lang="en-US" spc="100" dirty="0">
                <a:solidFill>
                  <a:schemeClr val="accent1"/>
                </a:solidFill>
                <a:cs typeface="+mn-ea"/>
                <a:sym typeface="+mn-lt"/>
              </a:rPr>
              <a:t>2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9DE10694-C3F4-B6A4-7F41-2EB6760D03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6F07BEDE-AF61-9C92-3133-F592EF9A1CA6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⌈天才⌋俱乐部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2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2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</a:t>
            </a:r>
            <a:r>
              <a:rPr lang="zh-CN" altLang="en-US" sz="2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后端代码部分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00631" y="1292815"/>
            <a:ext cx="10847388" cy="5010146"/>
            <a:chOff x="673100" y="1133473"/>
            <a:chExt cx="10847388" cy="5010146"/>
          </a:xfrm>
        </p:grpSpPr>
        <p:sp>
          <p:nvSpPr>
            <p:cNvPr id="6" name="矩形 5"/>
            <p:cNvSpPr/>
            <p:nvPr/>
          </p:nvSpPr>
          <p:spPr bwMode="auto">
            <a:xfrm>
              <a:off x="9241352" y="3734049"/>
              <a:ext cx="2279136" cy="11533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单片机编程软件天花板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" name="矩形 6"/>
            <p:cNvSpPr/>
            <p:nvPr/>
          </p:nvSpPr>
          <p:spPr bwMode="auto">
            <a:xfrm>
              <a:off x="9241352" y="2390831"/>
              <a:ext cx="2279136" cy="11533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高并发率，高效且安全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" name="矩形 7"/>
            <p:cNvSpPr/>
            <p:nvPr/>
          </p:nvSpPr>
          <p:spPr bwMode="auto">
            <a:xfrm>
              <a:off x="673101" y="3734049"/>
              <a:ext cx="2279135" cy="11533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代码简单，运行方便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" name="矩形 8"/>
            <p:cNvSpPr/>
            <p:nvPr/>
          </p:nvSpPr>
          <p:spPr bwMode="auto">
            <a:xfrm>
              <a:off x="673100" y="2390831"/>
              <a:ext cx="2279135" cy="11533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模块化代码，功能扩展方便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" name="椭圆 9"/>
            <p:cNvSpPr/>
            <p:nvPr/>
          </p:nvSpPr>
          <p:spPr bwMode="auto">
            <a:xfrm>
              <a:off x="5527671" y="3071381"/>
              <a:ext cx="1136658" cy="11354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sz="2400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任意多边形: 形状 10"/>
            <p:cNvSpPr/>
            <p:nvPr/>
          </p:nvSpPr>
          <p:spPr bwMode="auto">
            <a:xfrm>
              <a:off x="3003960" y="1133473"/>
              <a:ext cx="583470" cy="2410740"/>
            </a:xfrm>
            <a:custGeom>
              <a:avLst/>
              <a:gdLst>
                <a:gd name="T0" fmla="*/ 0 w 501"/>
                <a:gd name="T1" fmla="*/ 1104 h 2070"/>
                <a:gd name="T2" fmla="*/ 501 w 501"/>
                <a:gd name="T3" fmla="*/ 0 h 2070"/>
                <a:gd name="T4" fmla="*/ 501 w 501"/>
                <a:gd name="T5" fmla="*/ 2070 h 2070"/>
                <a:gd name="T6" fmla="*/ 0 w 501"/>
                <a:gd name="T7" fmla="*/ 2070 h 2070"/>
                <a:gd name="T8" fmla="*/ 0 w 501"/>
                <a:gd name="T9" fmla="*/ 1104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1" h="2070">
                  <a:moveTo>
                    <a:pt x="0" y="1104"/>
                  </a:moveTo>
                  <a:lnTo>
                    <a:pt x="501" y="0"/>
                  </a:lnTo>
                  <a:lnTo>
                    <a:pt x="501" y="2070"/>
                  </a:lnTo>
                  <a:lnTo>
                    <a:pt x="0" y="2070"/>
                  </a:lnTo>
                  <a:lnTo>
                    <a:pt x="0" y="1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/>
            <p:cNvSpPr/>
            <p:nvPr/>
          </p:nvSpPr>
          <p:spPr bwMode="auto">
            <a:xfrm>
              <a:off x="3003959" y="1133474"/>
              <a:ext cx="583470" cy="2410739"/>
            </a:xfrm>
            <a:custGeom>
              <a:avLst/>
              <a:gdLst>
                <a:gd name="connsiteX0" fmla="*/ 174625 w 795338"/>
                <a:gd name="connsiteY0" fmla="*/ 3187698 h 3286124"/>
                <a:gd name="connsiteX1" fmla="*/ 171330 w 795338"/>
                <a:gd name="connsiteY1" fmla="*/ 3286123 h 3286124"/>
                <a:gd name="connsiteX2" fmla="*/ 0 w 795338"/>
                <a:gd name="connsiteY2" fmla="*/ 3286123 h 3286124"/>
                <a:gd name="connsiteX3" fmla="*/ 0 w 795338"/>
                <a:gd name="connsiteY3" fmla="*/ 3207383 h 3286124"/>
                <a:gd name="connsiteX4" fmla="*/ 174625 w 795338"/>
                <a:gd name="connsiteY4" fmla="*/ 3187698 h 3286124"/>
                <a:gd name="connsiteX5" fmla="*/ 455613 w 795338"/>
                <a:gd name="connsiteY5" fmla="*/ 3157536 h 3286124"/>
                <a:gd name="connsiteX6" fmla="*/ 452314 w 795338"/>
                <a:gd name="connsiteY6" fmla="*/ 3286124 h 3286124"/>
                <a:gd name="connsiteX7" fmla="*/ 326964 w 795338"/>
                <a:gd name="connsiteY7" fmla="*/ 3286124 h 3286124"/>
                <a:gd name="connsiteX8" fmla="*/ 201613 w 795338"/>
                <a:gd name="connsiteY8" fmla="*/ 3286124 h 3286124"/>
                <a:gd name="connsiteX9" fmla="*/ 201613 w 795338"/>
                <a:gd name="connsiteY9" fmla="*/ 3183913 h 3286124"/>
                <a:gd name="connsiteX10" fmla="*/ 330262 w 795338"/>
                <a:gd name="connsiteY10" fmla="*/ 3170724 h 3286124"/>
                <a:gd name="connsiteX11" fmla="*/ 455613 w 795338"/>
                <a:gd name="connsiteY11" fmla="*/ 3157536 h 3286124"/>
                <a:gd name="connsiteX12" fmla="*/ 731838 w 795338"/>
                <a:gd name="connsiteY12" fmla="*/ 3128961 h 3286124"/>
                <a:gd name="connsiteX13" fmla="*/ 731838 w 795338"/>
                <a:gd name="connsiteY13" fmla="*/ 3286124 h 3286124"/>
                <a:gd name="connsiteX14" fmla="*/ 606426 w 795338"/>
                <a:gd name="connsiteY14" fmla="*/ 3286124 h 3286124"/>
                <a:gd name="connsiteX15" fmla="*/ 481013 w 795338"/>
                <a:gd name="connsiteY15" fmla="*/ 3286124 h 3286124"/>
                <a:gd name="connsiteX16" fmla="*/ 481013 w 795338"/>
                <a:gd name="connsiteY16" fmla="*/ 3155155 h 3286124"/>
                <a:gd name="connsiteX17" fmla="*/ 606426 w 795338"/>
                <a:gd name="connsiteY17" fmla="*/ 3142058 h 3286124"/>
                <a:gd name="connsiteX18" fmla="*/ 731838 w 795338"/>
                <a:gd name="connsiteY18" fmla="*/ 3128961 h 3286124"/>
                <a:gd name="connsiteX19" fmla="*/ 795338 w 795338"/>
                <a:gd name="connsiteY19" fmla="*/ 3122611 h 3286124"/>
                <a:gd name="connsiteX20" fmla="*/ 795338 w 795338"/>
                <a:gd name="connsiteY20" fmla="*/ 3286124 h 3286124"/>
                <a:gd name="connsiteX21" fmla="*/ 762000 w 795338"/>
                <a:gd name="connsiteY21" fmla="*/ 3286124 h 3286124"/>
                <a:gd name="connsiteX22" fmla="*/ 762000 w 795338"/>
                <a:gd name="connsiteY22" fmla="*/ 3125881 h 3286124"/>
                <a:gd name="connsiteX23" fmla="*/ 795338 w 795338"/>
                <a:gd name="connsiteY23" fmla="*/ 3122611 h 3286124"/>
                <a:gd name="connsiteX24" fmla="*/ 36513 w 795338"/>
                <a:gd name="connsiteY24" fmla="*/ 3025773 h 3286124"/>
                <a:gd name="connsiteX25" fmla="*/ 33179 w 795338"/>
                <a:gd name="connsiteY25" fmla="*/ 3168504 h 3286124"/>
                <a:gd name="connsiteX26" fmla="*/ 3175 w 795338"/>
                <a:gd name="connsiteY26" fmla="*/ 3171823 h 3286124"/>
                <a:gd name="connsiteX27" fmla="*/ 3175 w 795338"/>
                <a:gd name="connsiteY27" fmla="*/ 3035731 h 3286124"/>
                <a:gd name="connsiteX28" fmla="*/ 36513 w 795338"/>
                <a:gd name="connsiteY28" fmla="*/ 3025773 h 3286124"/>
                <a:gd name="connsiteX29" fmla="*/ 315913 w 795338"/>
                <a:gd name="connsiteY29" fmla="*/ 2933698 h 3286124"/>
                <a:gd name="connsiteX30" fmla="*/ 312614 w 795338"/>
                <a:gd name="connsiteY30" fmla="*/ 3124520 h 3286124"/>
                <a:gd name="connsiteX31" fmla="*/ 187264 w 795338"/>
                <a:gd name="connsiteY31" fmla="*/ 3144261 h 3286124"/>
                <a:gd name="connsiteX32" fmla="*/ 61913 w 795338"/>
                <a:gd name="connsiteY32" fmla="*/ 3160711 h 3286124"/>
                <a:gd name="connsiteX33" fmla="*/ 65212 w 795338"/>
                <a:gd name="connsiteY33" fmla="*/ 3015949 h 3286124"/>
                <a:gd name="connsiteX34" fmla="*/ 190562 w 795338"/>
                <a:gd name="connsiteY34" fmla="*/ 2973178 h 3286124"/>
                <a:gd name="connsiteX35" fmla="*/ 315913 w 795338"/>
                <a:gd name="connsiteY35" fmla="*/ 2933698 h 3286124"/>
                <a:gd name="connsiteX36" fmla="*/ 593725 w 795338"/>
                <a:gd name="connsiteY36" fmla="*/ 2838448 h 3286124"/>
                <a:gd name="connsiteX37" fmla="*/ 593725 w 795338"/>
                <a:gd name="connsiteY37" fmla="*/ 3081690 h 3286124"/>
                <a:gd name="connsiteX38" fmla="*/ 468313 w 795338"/>
                <a:gd name="connsiteY38" fmla="*/ 3101413 h 3286124"/>
                <a:gd name="connsiteX39" fmla="*/ 342900 w 795338"/>
                <a:gd name="connsiteY39" fmla="*/ 3117848 h 3286124"/>
                <a:gd name="connsiteX40" fmla="*/ 342900 w 795338"/>
                <a:gd name="connsiteY40" fmla="*/ 2923911 h 3286124"/>
                <a:gd name="connsiteX41" fmla="*/ 468313 w 795338"/>
                <a:gd name="connsiteY41" fmla="*/ 2881180 h 3286124"/>
                <a:gd name="connsiteX42" fmla="*/ 593725 w 795338"/>
                <a:gd name="connsiteY42" fmla="*/ 2838448 h 3286124"/>
                <a:gd name="connsiteX43" fmla="*/ 795338 w 795338"/>
                <a:gd name="connsiteY43" fmla="*/ 2773361 h 3286124"/>
                <a:gd name="connsiteX44" fmla="*/ 795338 w 795338"/>
                <a:gd name="connsiteY44" fmla="*/ 3048758 h 3286124"/>
                <a:gd name="connsiteX45" fmla="*/ 623888 w 795338"/>
                <a:gd name="connsiteY45" fmla="*/ 3074986 h 3286124"/>
                <a:gd name="connsiteX46" fmla="*/ 623888 w 795338"/>
                <a:gd name="connsiteY46" fmla="*/ 2829096 h 3286124"/>
                <a:gd name="connsiteX47" fmla="*/ 795338 w 795338"/>
                <a:gd name="connsiteY47" fmla="*/ 2773361 h 3286124"/>
                <a:gd name="connsiteX48" fmla="*/ 177800 w 795338"/>
                <a:gd name="connsiteY48" fmla="*/ 2759073 h 3286124"/>
                <a:gd name="connsiteX49" fmla="*/ 177800 w 795338"/>
                <a:gd name="connsiteY49" fmla="*/ 2924626 h 3286124"/>
                <a:gd name="connsiteX50" fmla="*/ 6350 w 795338"/>
                <a:gd name="connsiteY50" fmla="*/ 2990848 h 3286124"/>
                <a:gd name="connsiteX51" fmla="*/ 6350 w 795338"/>
                <a:gd name="connsiteY51" fmla="*/ 2858405 h 3286124"/>
                <a:gd name="connsiteX52" fmla="*/ 177800 w 795338"/>
                <a:gd name="connsiteY52" fmla="*/ 2759073 h 3286124"/>
                <a:gd name="connsiteX53" fmla="*/ 42863 w 795338"/>
                <a:gd name="connsiteY53" fmla="*/ 2660648 h 3286124"/>
                <a:gd name="connsiteX54" fmla="*/ 39544 w 795338"/>
                <a:gd name="connsiteY54" fmla="*/ 2802745 h 3286124"/>
                <a:gd name="connsiteX55" fmla="*/ 6350 w 795338"/>
                <a:gd name="connsiteY55" fmla="*/ 2822573 h 3286124"/>
                <a:gd name="connsiteX56" fmla="*/ 9669 w 795338"/>
                <a:gd name="connsiteY56" fmla="*/ 2687085 h 3286124"/>
                <a:gd name="connsiteX57" fmla="*/ 42863 w 795338"/>
                <a:gd name="connsiteY57" fmla="*/ 2660648 h 3286124"/>
                <a:gd name="connsiteX58" fmla="*/ 455613 w 795338"/>
                <a:gd name="connsiteY58" fmla="*/ 2598736 h 3286124"/>
                <a:gd name="connsiteX59" fmla="*/ 455613 w 795338"/>
                <a:gd name="connsiteY59" fmla="*/ 2812635 h 3286124"/>
                <a:gd name="connsiteX60" fmla="*/ 330201 w 795338"/>
                <a:gd name="connsiteY60" fmla="*/ 2861997 h 3286124"/>
                <a:gd name="connsiteX61" fmla="*/ 204788 w 795338"/>
                <a:gd name="connsiteY61" fmla="*/ 2914649 h 3286124"/>
                <a:gd name="connsiteX62" fmla="*/ 208088 w 795338"/>
                <a:gd name="connsiteY62" fmla="*/ 2743529 h 3286124"/>
                <a:gd name="connsiteX63" fmla="*/ 333501 w 795338"/>
                <a:gd name="connsiteY63" fmla="*/ 2671133 h 3286124"/>
                <a:gd name="connsiteX64" fmla="*/ 455613 w 795338"/>
                <a:gd name="connsiteY64" fmla="*/ 2598736 h 3286124"/>
                <a:gd name="connsiteX65" fmla="*/ 735013 w 795338"/>
                <a:gd name="connsiteY65" fmla="*/ 2436811 h 3286124"/>
                <a:gd name="connsiteX66" fmla="*/ 731713 w 795338"/>
                <a:gd name="connsiteY66" fmla="*/ 2703253 h 3286124"/>
                <a:gd name="connsiteX67" fmla="*/ 609601 w 795338"/>
                <a:gd name="connsiteY67" fmla="*/ 2752595 h 3286124"/>
                <a:gd name="connsiteX68" fmla="*/ 484188 w 795338"/>
                <a:gd name="connsiteY68" fmla="*/ 2801936 h 3286124"/>
                <a:gd name="connsiteX69" fmla="*/ 484188 w 795338"/>
                <a:gd name="connsiteY69" fmla="*/ 2581545 h 3286124"/>
                <a:gd name="connsiteX70" fmla="*/ 609601 w 795338"/>
                <a:gd name="connsiteY70" fmla="*/ 2509178 h 3286124"/>
                <a:gd name="connsiteX71" fmla="*/ 735013 w 795338"/>
                <a:gd name="connsiteY71" fmla="*/ 2436811 h 3286124"/>
                <a:gd name="connsiteX72" fmla="*/ 320675 w 795338"/>
                <a:gd name="connsiteY72" fmla="*/ 2436811 h 3286124"/>
                <a:gd name="connsiteX73" fmla="*/ 317375 w 795338"/>
                <a:gd name="connsiteY73" fmla="*/ 2627976 h 3286124"/>
                <a:gd name="connsiteX74" fmla="*/ 195263 w 795338"/>
                <a:gd name="connsiteY74" fmla="*/ 2707079 h 3286124"/>
                <a:gd name="connsiteX75" fmla="*/ 69850 w 795338"/>
                <a:gd name="connsiteY75" fmla="*/ 2782886 h 3286124"/>
                <a:gd name="connsiteX76" fmla="*/ 69850 w 795338"/>
                <a:gd name="connsiteY76" fmla="*/ 2637864 h 3286124"/>
                <a:gd name="connsiteX77" fmla="*/ 195263 w 795338"/>
                <a:gd name="connsiteY77" fmla="*/ 2535689 h 3286124"/>
                <a:gd name="connsiteX78" fmla="*/ 320675 w 795338"/>
                <a:gd name="connsiteY78" fmla="*/ 2436811 h 3286124"/>
                <a:gd name="connsiteX79" fmla="*/ 795338 w 795338"/>
                <a:gd name="connsiteY79" fmla="*/ 2400298 h 3286124"/>
                <a:gd name="connsiteX80" fmla="*/ 795338 w 795338"/>
                <a:gd name="connsiteY80" fmla="*/ 2680907 h 3286124"/>
                <a:gd name="connsiteX81" fmla="*/ 762000 w 795338"/>
                <a:gd name="connsiteY81" fmla="*/ 2690811 h 3286124"/>
                <a:gd name="connsiteX82" fmla="*/ 762000 w 795338"/>
                <a:gd name="connsiteY82" fmla="*/ 2420106 h 3286124"/>
                <a:gd name="connsiteX83" fmla="*/ 795338 w 795338"/>
                <a:gd name="connsiteY83" fmla="*/ 2400298 h 3286124"/>
                <a:gd name="connsiteX84" fmla="*/ 180975 w 795338"/>
                <a:gd name="connsiteY84" fmla="*/ 2328861 h 3286124"/>
                <a:gd name="connsiteX85" fmla="*/ 180975 w 795338"/>
                <a:gd name="connsiteY85" fmla="*/ 2493460 h 3286124"/>
                <a:gd name="connsiteX86" fmla="*/ 9525 w 795338"/>
                <a:gd name="connsiteY86" fmla="*/ 2641599 h 3286124"/>
                <a:gd name="connsiteX87" fmla="*/ 12822 w 795338"/>
                <a:gd name="connsiteY87" fmla="*/ 2506628 h 3286124"/>
                <a:gd name="connsiteX88" fmla="*/ 180975 w 795338"/>
                <a:gd name="connsiteY88" fmla="*/ 2328861 h 3286124"/>
                <a:gd name="connsiteX89" fmla="*/ 46038 w 795338"/>
                <a:gd name="connsiteY89" fmla="*/ 2295523 h 3286124"/>
                <a:gd name="connsiteX90" fmla="*/ 46038 w 795338"/>
                <a:gd name="connsiteY90" fmla="*/ 2437104 h 3286124"/>
                <a:gd name="connsiteX91" fmla="*/ 12700 w 795338"/>
                <a:gd name="connsiteY91" fmla="*/ 2473323 h 3286124"/>
                <a:gd name="connsiteX92" fmla="*/ 16034 w 795338"/>
                <a:gd name="connsiteY92" fmla="*/ 2338327 h 3286124"/>
                <a:gd name="connsiteX93" fmla="*/ 46038 w 795338"/>
                <a:gd name="connsiteY93" fmla="*/ 2295523 h 3286124"/>
                <a:gd name="connsiteX94" fmla="*/ 596900 w 795338"/>
                <a:gd name="connsiteY94" fmla="*/ 2212973 h 3286124"/>
                <a:gd name="connsiteX95" fmla="*/ 593600 w 795338"/>
                <a:gd name="connsiteY95" fmla="*/ 2453368 h 3286124"/>
                <a:gd name="connsiteX96" fmla="*/ 471488 w 795338"/>
                <a:gd name="connsiteY96" fmla="*/ 2532402 h 3286124"/>
                <a:gd name="connsiteX97" fmla="*/ 346075 w 795338"/>
                <a:gd name="connsiteY97" fmla="*/ 2611436 h 3286124"/>
                <a:gd name="connsiteX98" fmla="*/ 346075 w 795338"/>
                <a:gd name="connsiteY98" fmla="*/ 2413851 h 3286124"/>
                <a:gd name="connsiteX99" fmla="*/ 471488 w 795338"/>
                <a:gd name="connsiteY99" fmla="*/ 2311765 h 3286124"/>
                <a:gd name="connsiteX100" fmla="*/ 596900 w 795338"/>
                <a:gd name="connsiteY100" fmla="*/ 2212973 h 3286124"/>
                <a:gd name="connsiteX101" fmla="*/ 795338 w 795338"/>
                <a:gd name="connsiteY101" fmla="*/ 2051048 h 3286124"/>
                <a:gd name="connsiteX102" fmla="*/ 795338 w 795338"/>
                <a:gd name="connsiteY102" fmla="*/ 2328006 h 3286124"/>
                <a:gd name="connsiteX103" fmla="*/ 623888 w 795338"/>
                <a:gd name="connsiteY103" fmla="*/ 2436811 h 3286124"/>
                <a:gd name="connsiteX104" fmla="*/ 623888 w 795338"/>
                <a:gd name="connsiteY104" fmla="*/ 2189527 h 3286124"/>
                <a:gd name="connsiteX105" fmla="*/ 795338 w 795338"/>
                <a:gd name="connsiteY105" fmla="*/ 2051048 h 3286124"/>
                <a:gd name="connsiteX106" fmla="*/ 458788 w 795338"/>
                <a:gd name="connsiteY106" fmla="*/ 2035173 h 3286124"/>
                <a:gd name="connsiteX107" fmla="*/ 458788 w 795338"/>
                <a:gd name="connsiteY107" fmla="*/ 2252660 h 3286124"/>
                <a:gd name="connsiteX108" fmla="*/ 333312 w 795338"/>
                <a:gd name="connsiteY108" fmla="*/ 2361404 h 3286124"/>
                <a:gd name="connsiteX109" fmla="*/ 211138 w 795338"/>
                <a:gd name="connsiteY109" fmla="*/ 2470148 h 3286124"/>
                <a:gd name="connsiteX110" fmla="*/ 211138 w 795338"/>
                <a:gd name="connsiteY110" fmla="*/ 2298794 h 3286124"/>
                <a:gd name="connsiteX111" fmla="*/ 336614 w 795338"/>
                <a:gd name="connsiteY111" fmla="*/ 2166983 h 3286124"/>
                <a:gd name="connsiteX112" fmla="*/ 458788 w 795338"/>
                <a:gd name="connsiteY112" fmla="*/ 2035173 h 3286124"/>
                <a:gd name="connsiteX113" fmla="*/ 323850 w 795338"/>
                <a:gd name="connsiteY113" fmla="*/ 1939923 h 3286124"/>
                <a:gd name="connsiteX114" fmla="*/ 320550 w 795338"/>
                <a:gd name="connsiteY114" fmla="*/ 2130603 h 3286124"/>
                <a:gd name="connsiteX115" fmla="*/ 198438 w 795338"/>
                <a:gd name="connsiteY115" fmla="*/ 2268682 h 3286124"/>
                <a:gd name="connsiteX116" fmla="*/ 73025 w 795338"/>
                <a:gd name="connsiteY116" fmla="*/ 2403473 h 3286124"/>
                <a:gd name="connsiteX117" fmla="*/ 76325 w 795338"/>
                <a:gd name="connsiteY117" fmla="*/ 2258819 h 3286124"/>
                <a:gd name="connsiteX118" fmla="*/ 198438 w 795338"/>
                <a:gd name="connsiteY118" fmla="*/ 2101015 h 3286124"/>
                <a:gd name="connsiteX119" fmla="*/ 323850 w 795338"/>
                <a:gd name="connsiteY119" fmla="*/ 1939923 h 3286124"/>
                <a:gd name="connsiteX120" fmla="*/ 52388 w 795338"/>
                <a:gd name="connsiteY120" fmla="*/ 1930398 h 3286124"/>
                <a:gd name="connsiteX121" fmla="*/ 49054 w 795338"/>
                <a:gd name="connsiteY121" fmla="*/ 2071631 h 3286124"/>
                <a:gd name="connsiteX122" fmla="*/ 19050 w 795338"/>
                <a:gd name="connsiteY122" fmla="*/ 2120898 h 3286124"/>
                <a:gd name="connsiteX123" fmla="*/ 22384 w 795338"/>
                <a:gd name="connsiteY123" fmla="*/ 1986234 h 3286124"/>
                <a:gd name="connsiteX124" fmla="*/ 52388 w 795338"/>
                <a:gd name="connsiteY124" fmla="*/ 1930398 h 3286124"/>
                <a:gd name="connsiteX125" fmla="*/ 187325 w 795338"/>
                <a:gd name="connsiteY125" fmla="*/ 1897061 h 3286124"/>
                <a:gd name="connsiteX126" fmla="*/ 184028 w 795338"/>
                <a:gd name="connsiteY126" fmla="*/ 2061764 h 3286124"/>
                <a:gd name="connsiteX127" fmla="*/ 15875 w 795338"/>
                <a:gd name="connsiteY127" fmla="*/ 2292349 h 3286124"/>
                <a:gd name="connsiteX128" fmla="*/ 19172 w 795338"/>
                <a:gd name="connsiteY128" fmla="*/ 2157292 h 3286124"/>
                <a:gd name="connsiteX129" fmla="*/ 187325 w 795338"/>
                <a:gd name="connsiteY129" fmla="*/ 1897061 h 3286124"/>
                <a:gd name="connsiteX130" fmla="*/ 735013 w 795338"/>
                <a:gd name="connsiteY130" fmla="*/ 1741486 h 3286124"/>
                <a:gd name="connsiteX131" fmla="*/ 735013 w 795338"/>
                <a:gd name="connsiteY131" fmla="*/ 2011577 h 3286124"/>
                <a:gd name="connsiteX132" fmla="*/ 609601 w 795338"/>
                <a:gd name="connsiteY132" fmla="*/ 2116979 h 3286124"/>
                <a:gd name="connsiteX133" fmla="*/ 484188 w 795338"/>
                <a:gd name="connsiteY133" fmla="*/ 2225674 h 3286124"/>
                <a:gd name="connsiteX134" fmla="*/ 487488 w 795338"/>
                <a:gd name="connsiteY134" fmla="*/ 2004990 h 3286124"/>
                <a:gd name="connsiteX135" fmla="*/ 609601 w 795338"/>
                <a:gd name="connsiteY135" fmla="*/ 1873238 h 3286124"/>
                <a:gd name="connsiteX136" fmla="*/ 735013 w 795338"/>
                <a:gd name="connsiteY136" fmla="*/ 1741486 h 3286124"/>
                <a:gd name="connsiteX137" fmla="*/ 795338 w 795338"/>
                <a:gd name="connsiteY137" fmla="*/ 1679573 h 3286124"/>
                <a:gd name="connsiteX138" fmla="*/ 795338 w 795338"/>
                <a:gd name="connsiteY138" fmla="*/ 1959605 h 3286124"/>
                <a:gd name="connsiteX139" fmla="*/ 762000 w 795338"/>
                <a:gd name="connsiteY139" fmla="*/ 1985961 h 3286124"/>
                <a:gd name="connsiteX140" fmla="*/ 762000 w 795338"/>
                <a:gd name="connsiteY140" fmla="*/ 1712518 h 3286124"/>
                <a:gd name="connsiteX141" fmla="*/ 795338 w 795338"/>
                <a:gd name="connsiteY141" fmla="*/ 1679573 h 3286124"/>
                <a:gd name="connsiteX142" fmla="*/ 58738 w 795338"/>
                <a:gd name="connsiteY142" fmla="*/ 1624012 h 3286124"/>
                <a:gd name="connsiteX143" fmla="*/ 55563 w 795338"/>
                <a:gd name="connsiteY143" fmla="*/ 1706032 h 3286124"/>
                <a:gd name="connsiteX144" fmla="*/ 26988 w 795338"/>
                <a:gd name="connsiteY144" fmla="*/ 1771649 h 3286124"/>
                <a:gd name="connsiteX145" fmla="*/ 26988 w 795338"/>
                <a:gd name="connsiteY145" fmla="*/ 1689628 h 3286124"/>
                <a:gd name="connsiteX146" fmla="*/ 58738 w 795338"/>
                <a:gd name="connsiteY146" fmla="*/ 1624012 h 3286124"/>
                <a:gd name="connsiteX147" fmla="*/ 596900 w 795338"/>
                <a:gd name="connsiteY147" fmla="*/ 1584324 h 3286124"/>
                <a:gd name="connsiteX148" fmla="*/ 596900 w 795338"/>
                <a:gd name="connsiteY148" fmla="*/ 1827504 h 3286124"/>
                <a:gd name="connsiteX149" fmla="*/ 471424 w 795338"/>
                <a:gd name="connsiteY149" fmla="*/ 1962239 h 3286124"/>
                <a:gd name="connsiteX150" fmla="*/ 349250 w 795338"/>
                <a:gd name="connsiteY150" fmla="*/ 2100261 h 3286124"/>
                <a:gd name="connsiteX151" fmla="*/ 349250 w 795338"/>
                <a:gd name="connsiteY151" fmla="*/ 1903087 h 3286124"/>
                <a:gd name="connsiteX152" fmla="*/ 474726 w 795338"/>
                <a:gd name="connsiteY152" fmla="*/ 1745348 h 3286124"/>
                <a:gd name="connsiteX153" fmla="*/ 596900 w 795338"/>
                <a:gd name="connsiteY153" fmla="*/ 1584324 h 3286124"/>
                <a:gd name="connsiteX154" fmla="*/ 461963 w 795338"/>
                <a:gd name="connsiteY154" fmla="*/ 1474788 h 3286124"/>
                <a:gd name="connsiteX155" fmla="*/ 461963 w 795338"/>
                <a:gd name="connsiteY155" fmla="*/ 1689194 h 3286124"/>
                <a:gd name="connsiteX156" fmla="*/ 336487 w 795338"/>
                <a:gd name="connsiteY156" fmla="*/ 1857421 h 3286124"/>
                <a:gd name="connsiteX157" fmla="*/ 214313 w 795338"/>
                <a:gd name="connsiteY157" fmla="*/ 2025649 h 3286124"/>
                <a:gd name="connsiteX158" fmla="*/ 214313 w 795338"/>
                <a:gd name="connsiteY158" fmla="*/ 1854123 h 3286124"/>
                <a:gd name="connsiteX159" fmla="*/ 339789 w 795338"/>
                <a:gd name="connsiteY159" fmla="*/ 1662805 h 3286124"/>
                <a:gd name="connsiteX160" fmla="*/ 461963 w 795338"/>
                <a:gd name="connsiteY160" fmla="*/ 1474788 h 3286124"/>
                <a:gd name="connsiteX161" fmla="*/ 190501 w 795338"/>
                <a:gd name="connsiteY161" fmla="*/ 1465265 h 3286124"/>
                <a:gd name="connsiteX162" fmla="*/ 190501 w 795338"/>
                <a:gd name="connsiteY162" fmla="*/ 1630075 h 3286124"/>
                <a:gd name="connsiteX163" fmla="*/ 23813 w 795338"/>
                <a:gd name="connsiteY163" fmla="*/ 1939924 h 3286124"/>
                <a:gd name="connsiteX164" fmla="*/ 27081 w 795338"/>
                <a:gd name="connsiteY164" fmla="*/ 1808073 h 3286124"/>
                <a:gd name="connsiteX165" fmla="*/ 190501 w 795338"/>
                <a:gd name="connsiteY165" fmla="*/ 1465265 h 3286124"/>
                <a:gd name="connsiteX166" fmla="*/ 327025 w 795338"/>
                <a:gd name="connsiteY166" fmla="*/ 1446213 h 3286124"/>
                <a:gd name="connsiteX167" fmla="*/ 323723 w 795338"/>
                <a:gd name="connsiteY167" fmla="*/ 1637162 h 3286124"/>
                <a:gd name="connsiteX168" fmla="*/ 201549 w 795338"/>
                <a:gd name="connsiteY168" fmla="*/ 1831406 h 3286124"/>
                <a:gd name="connsiteX169" fmla="*/ 79375 w 795338"/>
                <a:gd name="connsiteY169" fmla="*/ 2025649 h 3286124"/>
                <a:gd name="connsiteX170" fmla="*/ 82677 w 795338"/>
                <a:gd name="connsiteY170" fmla="*/ 1880789 h 3286124"/>
                <a:gd name="connsiteX171" fmla="*/ 204851 w 795338"/>
                <a:gd name="connsiteY171" fmla="*/ 1663500 h 3286124"/>
                <a:gd name="connsiteX172" fmla="*/ 327025 w 795338"/>
                <a:gd name="connsiteY172" fmla="*/ 1446213 h 3286124"/>
                <a:gd name="connsiteX173" fmla="*/ 795338 w 795338"/>
                <a:gd name="connsiteY173" fmla="*/ 1330325 h 3286124"/>
                <a:gd name="connsiteX174" fmla="*/ 795338 w 795338"/>
                <a:gd name="connsiteY174" fmla="*/ 1607427 h 3286124"/>
                <a:gd name="connsiteX175" fmla="*/ 627063 w 795338"/>
                <a:gd name="connsiteY175" fmla="*/ 1795461 h 3286124"/>
                <a:gd name="connsiteX176" fmla="*/ 627063 w 795338"/>
                <a:gd name="connsiteY176" fmla="*/ 1548048 h 3286124"/>
                <a:gd name="connsiteX177" fmla="*/ 795338 w 795338"/>
                <a:gd name="connsiteY177" fmla="*/ 1330325 h 3286124"/>
                <a:gd name="connsiteX178" fmla="*/ 735013 w 795338"/>
                <a:gd name="connsiteY178" fmla="*/ 1050923 h 3286124"/>
                <a:gd name="connsiteX179" fmla="*/ 735013 w 795338"/>
                <a:gd name="connsiteY179" fmla="*/ 1317235 h 3286124"/>
                <a:gd name="connsiteX180" fmla="*/ 609537 w 795338"/>
                <a:gd name="connsiteY180" fmla="*/ 1484912 h 3286124"/>
                <a:gd name="connsiteX181" fmla="*/ 487363 w 795338"/>
                <a:gd name="connsiteY181" fmla="*/ 1652586 h 3286124"/>
                <a:gd name="connsiteX182" fmla="*/ 487363 w 795338"/>
                <a:gd name="connsiteY182" fmla="*/ 1429019 h 3286124"/>
                <a:gd name="connsiteX183" fmla="*/ 612839 w 795338"/>
                <a:gd name="connsiteY183" fmla="*/ 1241615 h 3286124"/>
                <a:gd name="connsiteX184" fmla="*/ 735013 w 795338"/>
                <a:gd name="connsiteY184" fmla="*/ 1050923 h 3286124"/>
                <a:gd name="connsiteX185" fmla="*/ 330200 w 795338"/>
                <a:gd name="connsiteY185" fmla="*/ 1023938 h 3286124"/>
                <a:gd name="connsiteX186" fmla="*/ 330200 w 795338"/>
                <a:gd name="connsiteY186" fmla="*/ 1139177 h 3286124"/>
                <a:gd name="connsiteX187" fmla="*/ 207963 w 795338"/>
                <a:gd name="connsiteY187" fmla="*/ 1392709 h 3286124"/>
                <a:gd name="connsiteX188" fmla="*/ 85725 w 795338"/>
                <a:gd name="connsiteY188" fmla="*/ 1646236 h 3286124"/>
                <a:gd name="connsiteX189" fmla="*/ 85725 w 795338"/>
                <a:gd name="connsiteY189" fmla="*/ 1560630 h 3286124"/>
                <a:gd name="connsiteX190" fmla="*/ 207963 w 795338"/>
                <a:gd name="connsiteY190" fmla="*/ 1293931 h 3286124"/>
                <a:gd name="connsiteX191" fmla="*/ 330200 w 795338"/>
                <a:gd name="connsiteY191" fmla="*/ 1023938 h 3286124"/>
                <a:gd name="connsiteX192" fmla="*/ 600075 w 795338"/>
                <a:gd name="connsiteY192" fmla="*/ 958849 h 3286124"/>
                <a:gd name="connsiteX193" fmla="*/ 596773 w 795338"/>
                <a:gd name="connsiteY193" fmla="*/ 1199074 h 3286124"/>
                <a:gd name="connsiteX194" fmla="*/ 474599 w 795338"/>
                <a:gd name="connsiteY194" fmla="*/ 1396520 h 3286124"/>
                <a:gd name="connsiteX195" fmla="*/ 352425 w 795338"/>
                <a:gd name="connsiteY195" fmla="*/ 1590674 h 3286124"/>
                <a:gd name="connsiteX196" fmla="*/ 352425 w 795338"/>
                <a:gd name="connsiteY196" fmla="*/ 1393230 h 3286124"/>
                <a:gd name="connsiteX197" fmla="*/ 474599 w 795338"/>
                <a:gd name="connsiteY197" fmla="*/ 1176039 h 3286124"/>
                <a:gd name="connsiteX198" fmla="*/ 600075 w 795338"/>
                <a:gd name="connsiteY198" fmla="*/ 958849 h 3286124"/>
                <a:gd name="connsiteX199" fmla="*/ 795338 w 795338"/>
                <a:gd name="connsiteY199" fmla="*/ 958849 h 3286124"/>
                <a:gd name="connsiteX200" fmla="*/ 795338 w 795338"/>
                <a:gd name="connsiteY200" fmla="*/ 1238363 h 3286124"/>
                <a:gd name="connsiteX201" fmla="*/ 762000 w 795338"/>
                <a:gd name="connsiteY201" fmla="*/ 1281113 h 3286124"/>
                <a:gd name="connsiteX202" fmla="*/ 762000 w 795338"/>
                <a:gd name="connsiteY202" fmla="*/ 1008175 h 3286124"/>
                <a:gd name="connsiteX203" fmla="*/ 795338 w 795338"/>
                <a:gd name="connsiteY203" fmla="*/ 958849 h 3286124"/>
                <a:gd name="connsiteX204" fmla="*/ 465138 w 795338"/>
                <a:gd name="connsiteY204" fmla="*/ 912813 h 3286124"/>
                <a:gd name="connsiteX205" fmla="*/ 461836 w 795338"/>
                <a:gd name="connsiteY205" fmla="*/ 1130104 h 3286124"/>
                <a:gd name="connsiteX206" fmla="*/ 339662 w 795338"/>
                <a:gd name="connsiteY206" fmla="*/ 1353982 h 3286124"/>
                <a:gd name="connsiteX207" fmla="*/ 217488 w 795338"/>
                <a:gd name="connsiteY207" fmla="*/ 1581150 h 3286124"/>
                <a:gd name="connsiteX208" fmla="*/ 220790 w 795338"/>
                <a:gd name="connsiteY208" fmla="*/ 1409951 h 3286124"/>
                <a:gd name="connsiteX209" fmla="*/ 342964 w 795338"/>
                <a:gd name="connsiteY209" fmla="*/ 1159735 h 3286124"/>
                <a:gd name="connsiteX210" fmla="*/ 465138 w 795338"/>
                <a:gd name="connsiteY210" fmla="*/ 912813 h 3286124"/>
                <a:gd name="connsiteX211" fmla="*/ 795338 w 795338"/>
                <a:gd name="connsiteY211" fmla="*/ 609600 h 3286124"/>
                <a:gd name="connsiteX212" fmla="*/ 795338 w 795338"/>
                <a:gd name="connsiteY212" fmla="*/ 885939 h 3286124"/>
                <a:gd name="connsiteX213" fmla="*/ 627063 w 795338"/>
                <a:gd name="connsiteY213" fmla="*/ 1155699 h 3286124"/>
                <a:gd name="connsiteX214" fmla="*/ 627063 w 795338"/>
                <a:gd name="connsiteY214" fmla="*/ 908968 h 3286124"/>
                <a:gd name="connsiteX215" fmla="*/ 795338 w 795338"/>
                <a:gd name="connsiteY215" fmla="*/ 609600 h 3286124"/>
                <a:gd name="connsiteX216" fmla="*/ 600075 w 795338"/>
                <a:gd name="connsiteY216" fmla="*/ 428625 h 3286124"/>
                <a:gd name="connsiteX217" fmla="*/ 600075 w 795338"/>
                <a:gd name="connsiteY217" fmla="*/ 573264 h 3286124"/>
                <a:gd name="connsiteX218" fmla="*/ 477838 w 795338"/>
                <a:gd name="connsiteY218" fmla="*/ 826382 h 3286124"/>
                <a:gd name="connsiteX219" fmla="*/ 355600 w 795338"/>
                <a:gd name="connsiteY219" fmla="*/ 1079498 h 3286124"/>
                <a:gd name="connsiteX220" fmla="*/ 355600 w 795338"/>
                <a:gd name="connsiteY220" fmla="*/ 964446 h 3286124"/>
                <a:gd name="connsiteX221" fmla="*/ 477838 w 795338"/>
                <a:gd name="connsiteY221" fmla="*/ 694892 h 3286124"/>
                <a:gd name="connsiteX222" fmla="*/ 600075 w 795338"/>
                <a:gd name="connsiteY222" fmla="*/ 428625 h 3286124"/>
                <a:gd name="connsiteX223" fmla="*/ 735013 w 795338"/>
                <a:gd name="connsiteY223" fmla="*/ 358774 h 3286124"/>
                <a:gd name="connsiteX224" fmla="*/ 735013 w 795338"/>
                <a:gd name="connsiteY224" fmla="*/ 625387 h 3286124"/>
                <a:gd name="connsiteX225" fmla="*/ 613569 w 795338"/>
                <a:gd name="connsiteY225" fmla="*/ 849210 h 3286124"/>
                <a:gd name="connsiteX226" fmla="*/ 492125 w 795338"/>
                <a:gd name="connsiteY226" fmla="*/ 1076323 h 3286124"/>
                <a:gd name="connsiteX227" fmla="*/ 492125 w 795338"/>
                <a:gd name="connsiteY227" fmla="*/ 855793 h 3286124"/>
                <a:gd name="connsiteX228" fmla="*/ 613569 w 795338"/>
                <a:gd name="connsiteY228" fmla="*/ 605638 h 3286124"/>
                <a:gd name="connsiteX229" fmla="*/ 735013 w 795338"/>
                <a:gd name="connsiteY229" fmla="*/ 358774 h 3286124"/>
                <a:gd name="connsiteX230" fmla="*/ 795338 w 795338"/>
                <a:gd name="connsiteY230" fmla="*/ 236538 h 3286124"/>
                <a:gd name="connsiteX231" fmla="*/ 795338 w 795338"/>
                <a:gd name="connsiteY231" fmla="*/ 516996 h 3286124"/>
                <a:gd name="connsiteX232" fmla="*/ 762000 w 795338"/>
                <a:gd name="connsiteY232" fmla="*/ 573088 h 3286124"/>
                <a:gd name="connsiteX233" fmla="*/ 762000 w 795338"/>
                <a:gd name="connsiteY233" fmla="*/ 302528 h 3286124"/>
                <a:gd name="connsiteX234" fmla="*/ 795338 w 795338"/>
                <a:gd name="connsiteY234" fmla="*/ 236538 h 3286124"/>
                <a:gd name="connsiteX235" fmla="*/ 795338 w 795338"/>
                <a:gd name="connsiteY235" fmla="*/ 0 h 3286124"/>
                <a:gd name="connsiteX236" fmla="*/ 795338 w 795338"/>
                <a:gd name="connsiteY236" fmla="*/ 164856 h 3286124"/>
                <a:gd name="connsiteX237" fmla="*/ 627063 w 795338"/>
                <a:gd name="connsiteY237" fmla="*/ 514350 h 3286124"/>
                <a:gd name="connsiteX238" fmla="*/ 627063 w 795338"/>
                <a:gd name="connsiteY238" fmla="*/ 369277 h 3286124"/>
                <a:gd name="connsiteX239" fmla="*/ 795338 w 795338"/>
                <a:gd name="connsiteY239" fmla="*/ 0 h 328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795338" h="3286124">
                  <a:moveTo>
                    <a:pt x="174625" y="3187698"/>
                  </a:moveTo>
                  <a:cubicBezTo>
                    <a:pt x="174625" y="3220506"/>
                    <a:pt x="171330" y="3253315"/>
                    <a:pt x="171330" y="3286123"/>
                  </a:cubicBezTo>
                  <a:cubicBezTo>
                    <a:pt x="115318" y="3286123"/>
                    <a:pt x="56012" y="3286123"/>
                    <a:pt x="0" y="3286123"/>
                  </a:cubicBezTo>
                  <a:cubicBezTo>
                    <a:pt x="0" y="3259876"/>
                    <a:pt x="0" y="3233630"/>
                    <a:pt x="0" y="3207383"/>
                  </a:cubicBezTo>
                  <a:cubicBezTo>
                    <a:pt x="59307" y="3200821"/>
                    <a:pt x="115318" y="3194260"/>
                    <a:pt x="174625" y="3187698"/>
                  </a:cubicBezTo>
                  <a:close/>
                  <a:moveTo>
                    <a:pt x="455613" y="3157536"/>
                  </a:moveTo>
                  <a:cubicBezTo>
                    <a:pt x="452314" y="3200399"/>
                    <a:pt x="452314" y="3243261"/>
                    <a:pt x="452314" y="3286124"/>
                  </a:cubicBezTo>
                  <a:cubicBezTo>
                    <a:pt x="412730" y="3286124"/>
                    <a:pt x="369847" y="3286124"/>
                    <a:pt x="326964" y="3286124"/>
                  </a:cubicBezTo>
                  <a:cubicBezTo>
                    <a:pt x="287379" y="3286124"/>
                    <a:pt x="244496" y="3286124"/>
                    <a:pt x="201613" y="3286124"/>
                  </a:cubicBezTo>
                  <a:cubicBezTo>
                    <a:pt x="201613" y="3253153"/>
                    <a:pt x="201613" y="3220182"/>
                    <a:pt x="201613" y="3183913"/>
                  </a:cubicBezTo>
                  <a:cubicBezTo>
                    <a:pt x="244496" y="3180616"/>
                    <a:pt x="287379" y="3177319"/>
                    <a:pt x="330262" y="3170724"/>
                  </a:cubicBezTo>
                  <a:cubicBezTo>
                    <a:pt x="369847" y="3167427"/>
                    <a:pt x="412730" y="3164130"/>
                    <a:pt x="455613" y="3157536"/>
                  </a:cubicBezTo>
                  <a:close/>
                  <a:moveTo>
                    <a:pt x="731838" y="3128961"/>
                  </a:moveTo>
                  <a:cubicBezTo>
                    <a:pt x="731838" y="3181349"/>
                    <a:pt x="731838" y="3233736"/>
                    <a:pt x="731838" y="3286124"/>
                  </a:cubicBezTo>
                  <a:cubicBezTo>
                    <a:pt x="692234" y="3286124"/>
                    <a:pt x="649330" y="3286124"/>
                    <a:pt x="606426" y="3286124"/>
                  </a:cubicBezTo>
                  <a:cubicBezTo>
                    <a:pt x="566822" y="3286124"/>
                    <a:pt x="523917" y="3286124"/>
                    <a:pt x="481013" y="3286124"/>
                  </a:cubicBezTo>
                  <a:cubicBezTo>
                    <a:pt x="481013" y="3243559"/>
                    <a:pt x="481013" y="3200994"/>
                    <a:pt x="481013" y="3155155"/>
                  </a:cubicBezTo>
                  <a:cubicBezTo>
                    <a:pt x="523917" y="3151880"/>
                    <a:pt x="566822" y="3148606"/>
                    <a:pt x="606426" y="3142058"/>
                  </a:cubicBezTo>
                  <a:cubicBezTo>
                    <a:pt x="649330" y="3138784"/>
                    <a:pt x="692234" y="3135509"/>
                    <a:pt x="731838" y="3128961"/>
                  </a:cubicBezTo>
                  <a:close/>
                  <a:moveTo>
                    <a:pt x="795338" y="3122611"/>
                  </a:moveTo>
                  <a:cubicBezTo>
                    <a:pt x="795338" y="3178205"/>
                    <a:pt x="795338" y="3233800"/>
                    <a:pt x="795338" y="3286124"/>
                  </a:cubicBezTo>
                  <a:cubicBezTo>
                    <a:pt x="785337" y="3286124"/>
                    <a:pt x="772002" y="3286124"/>
                    <a:pt x="762000" y="3286124"/>
                  </a:cubicBezTo>
                  <a:cubicBezTo>
                    <a:pt x="762000" y="3233800"/>
                    <a:pt x="762000" y="3181476"/>
                    <a:pt x="762000" y="3125881"/>
                  </a:cubicBezTo>
                  <a:cubicBezTo>
                    <a:pt x="772002" y="3125881"/>
                    <a:pt x="785337" y="3125881"/>
                    <a:pt x="795338" y="3122611"/>
                  </a:cubicBezTo>
                  <a:close/>
                  <a:moveTo>
                    <a:pt x="36513" y="3025773"/>
                  </a:moveTo>
                  <a:cubicBezTo>
                    <a:pt x="36513" y="3072243"/>
                    <a:pt x="36513" y="3122033"/>
                    <a:pt x="33179" y="3168504"/>
                  </a:cubicBezTo>
                  <a:cubicBezTo>
                    <a:pt x="23178" y="3168504"/>
                    <a:pt x="13176" y="3171823"/>
                    <a:pt x="3175" y="3171823"/>
                  </a:cubicBezTo>
                  <a:cubicBezTo>
                    <a:pt x="3175" y="3128672"/>
                    <a:pt x="3175" y="3082201"/>
                    <a:pt x="3175" y="3035731"/>
                  </a:cubicBezTo>
                  <a:cubicBezTo>
                    <a:pt x="16510" y="3032412"/>
                    <a:pt x="26512" y="3029092"/>
                    <a:pt x="36513" y="3025773"/>
                  </a:cubicBezTo>
                  <a:close/>
                  <a:moveTo>
                    <a:pt x="315913" y="2933698"/>
                  </a:moveTo>
                  <a:cubicBezTo>
                    <a:pt x="312614" y="2996209"/>
                    <a:pt x="312614" y="3058720"/>
                    <a:pt x="312614" y="3124520"/>
                  </a:cubicBezTo>
                  <a:cubicBezTo>
                    <a:pt x="273030" y="3131100"/>
                    <a:pt x="230147" y="3137681"/>
                    <a:pt x="187264" y="3144261"/>
                  </a:cubicBezTo>
                  <a:cubicBezTo>
                    <a:pt x="147679" y="3150841"/>
                    <a:pt x="104796" y="3154131"/>
                    <a:pt x="61913" y="3160711"/>
                  </a:cubicBezTo>
                  <a:cubicBezTo>
                    <a:pt x="61913" y="3114650"/>
                    <a:pt x="65212" y="3065300"/>
                    <a:pt x="65212" y="3015949"/>
                  </a:cubicBezTo>
                  <a:cubicBezTo>
                    <a:pt x="104796" y="3002789"/>
                    <a:pt x="147679" y="2989629"/>
                    <a:pt x="190562" y="2973178"/>
                  </a:cubicBezTo>
                  <a:cubicBezTo>
                    <a:pt x="230147" y="2960018"/>
                    <a:pt x="273030" y="2946858"/>
                    <a:pt x="315913" y="2933698"/>
                  </a:cubicBezTo>
                  <a:close/>
                  <a:moveTo>
                    <a:pt x="593725" y="2838448"/>
                  </a:moveTo>
                  <a:cubicBezTo>
                    <a:pt x="593725" y="2920624"/>
                    <a:pt x="593725" y="2999514"/>
                    <a:pt x="593725" y="3081690"/>
                  </a:cubicBezTo>
                  <a:cubicBezTo>
                    <a:pt x="550821" y="3088264"/>
                    <a:pt x="511217" y="3094838"/>
                    <a:pt x="468313" y="3101413"/>
                  </a:cubicBezTo>
                  <a:cubicBezTo>
                    <a:pt x="425408" y="3104700"/>
                    <a:pt x="385804" y="3111274"/>
                    <a:pt x="342900" y="3117848"/>
                  </a:cubicBezTo>
                  <a:cubicBezTo>
                    <a:pt x="342900" y="3055394"/>
                    <a:pt x="342900" y="2989653"/>
                    <a:pt x="342900" y="2923911"/>
                  </a:cubicBezTo>
                  <a:cubicBezTo>
                    <a:pt x="385804" y="2910763"/>
                    <a:pt x="428709" y="2894328"/>
                    <a:pt x="468313" y="2881180"/>
                  </a:cubicBezTo>
                  <a:cubicBezTo>
                    <a:pt x="511217" y="2868031"/>
                    <a:pt x="554121" y="2854883"/>
                    <a:pt x="593725" y="2838448"/>
                  </a:cubicBezTo>
                  <a:close/>
                  <a:moveTo>
                    <a:pt x="795338" y="2773361"/>
                  </a:moveTo>
                  <a:cubicBezTo>
                    <a:pt x="795338" y="2865160"/>
                    <a:pt x="795338" y="2956959"/>
                    <a:pt x="795338" y="3048758"/>
                  </a:cubicBezTo>
                  <a:cubicBezTo>
                    <a:pt x="735990" y="3058593"/>
                    <a:pt x="679939" y="3068429"/>
                    <a:pt x="623888" y="3074986"/>
                  </a:cubicBezTo>
                  <a:cubicBezTo>
                    <a:pt x="623888" y="2993023"/>
                    <a:pt x="623888" y="2911059"/>
                    <a:pt x="623888" y="2829096"/>
                  </a:cubicBezTo>
                  <a:cubicBezTo>
                    <a:pt x="679939" y="2812703"/>
                    <a:pt x="739287" y="2793032"/>
                    <a:pt x="795338" y="2773361"/>
                  </a:cubicBezTo>
                  <a:close/>
                  <a:moveTo>
                    <a:pt x="177800" y="2759073"/>
                  </a:moveTo>
                  <a:cubicBezTo>
                    <a:pt x="177800" y="2812050"/>
                    <a:pt x="177800" y="2868338"/>
                    <a:pt x="177800" y="2924626"/>
                  </a:cubicBezTo>
                  <a:cubicBezTo>
                    <a:pt x="118452" y="2947804"/>
                    <a:pt x="62401" y="2970981"/>
                    <a:pt x="6350" y="2990848"/>
                  </a:cubicBezTo>
                  <a:cubicBezTo>
                    <a:pt x="6350" y="2947804"/>
                    <a:pt x="6350" y="2901449"/>
                    <a:pt x="6350" y="2858405"/>
                  </a:cubicBezTo>
                  <a:cubicBezTo>
                    <a:pt x="65698" y="2825294"/>
                    <a:pt x="121749" y="2792184"/>
                    <a:pt x="177800" y="2759073"/>
                  </a:cubicBezTo>
                  <a:close/>
                  <a:moveTo>
                    <a:pt x="42863" y="2660648"/>
                  </a:moveTo>
                  <a:cubicBezTo>
                    <a:pt x="42863" y="2706912"/>
                    <a:pt x="39544" y="2756481"/>
                    <a:pt x="39544" y="2802745"/>
                  </a:cubicBezTo>
                  <a:cubicBezTo>
                    <a:pt x="29586" y="2809354"/>
                    <a:pt x="19628" y="2815964"/>
                    <a:pt x="6350" y="2822573"/>
                  </a:cubicBezTo>
                  <a:cubicBezTo>
                    <a:pt x="9669" y="2776309"/>
                    <a:pt x="9669" y="2733349"/>
                    <a:pt x="9669" y="2687085"/>
                  </a:cubicBezTo>
                  <a:cubicBezTo>
                    <a:pt x="19628" y="2677171"/>
                    <a:pt x="32905" y="2670562"/>
                    <a:pt x="42863" y="2660648"/>
                  </a:cubicBezTo>
                  <a:close/>
                  <a:moveTo>
                    <a:pt x="455613" y="2598736"/>
                  </a:moveTo>
                  <a:cubicBezTo>
                    <a:pt x="455613" y="2671133"/>
                    <a:pt x="455613" y="2743529"/>
                    <a:pt x="455613" y="2812635"/>
                  </a:cubicBezTo>
                  <a:cubicBezTo>
                    <a:pt x="412709" y="2829089"/>
                    <a:pt x="373105" y="2845543"/>
                    <a:pt x="330201" y="2861997"/>
                  </a:cubicBezTo>
                  <a:cubicBezTo>
                    <a:pt x="290597" y="2878450"/>
                    <a:pt x="247692" y="2894904"/>
                    <a:pt x="204788" y="2914649"/>
                  </a:cubicBezTo>
                  <a:cubicBezTo>
                    <a:pt x="204788" y="2855415"/>
                    <a:pt x="208088" y="2799472"/>
                    <a:pt x="208088" y="2743529"/>
                  </a:cubicBezTo>
                  <a:cubicBezTo>
                    <a:pt x="247692" y="2717203"/>
                    <a:pt x="290597" y="2694168"/>
                    <a:pt x="333501" y="2671133"/>
                  </a:cubicBezTo>
                  <a:cubicBezTo>
                    <a:pt x="373105" y="2644807"/>
                    <a:pt x="416009" y="2621771"/>
                    <a:pt x="455613" y="2598736"/>
                  </a:cubicBezTo>
                  <a:close/>
                  <a:moveTo>
                    <a:pt x="735013" y="2436811"/>
                  </a:moveTo>
                  <a:cubicBezTo>
                    <a:pt x="735013" y="2525625"/>
                    <a:pt x="735013" y="2614439"/>
                    <a:pt x="731713" y="2703253"/>
                  </a:cubicBezTo>
                  <a:cubicBezTo>
                    <a:pt x="692109" y="2719700"/>
                    <a:pt x="649205" y="2736148"/>
                    <a:pt x="609601" y="2752595"/>
                  </a:cubicBezTo>
                  <a:cubicBezTo>
                    <a:pt x="566696" y="2769042"/>
                    <a:pt x="523792" y="2785489"/>
                    <a:pt x="484188" y="2801936"/>
                  </a:cubicBezTo>
                  <a:cubicBezTo>
                    <a:pt x="484188" y="2729569"/>
                    <a:pt x="484188" y="2653912"/>
                    <a:pt x="484188" y="2581545"/>
                  </a:cubicBezTo>
                  <a:cubicBezTo>
                    <a:pt x="527092" y="2555230"/>
                    <a:pt x="566696" y="2532204"/>
                    <a:pt x="609601" y="2509178"/>
                  </a:cubicBezTo>
                  <a:cubicBezTo>
                    <a:pt x="649205" y="2486152"/>
                    <a:pt x="692109" y="2459837"/>
                    <a:pt x="735013" y="2436811"/>
                  </a:cubicBezTo>
                  <a:close/>
                  <a:moveTo>
                    <a:pt x="320675" y="2436811"/>
                  </a:moveTo>
                  <a:cubicBezTo>
                    <a:pt x="320675" y="2499434"/>
                    <a:pt x="317375" y="2565353"/>
                    <a:pt x="317375" y="2627976"/>
                  </a:cubicBezTo>
                  <a:cubicBezTo>
                    <a:pt x="277771" y="2654344"/>
                    <a:pt x="234867" y="2680711"/>
                    <a:pt x="195263" y="2707079"/>
                  </a:cubicBezTo>
                  <a:cubicBezTo>
                    <a:pt x="152358" y="2733447"/>
                    <a:pt x="109454" y="2759814"/>
                    <a:pt x="69850" y="2782886"/>
                  </a:cubicBezTo>
                  <a:cubicBezTo>
                    <a:pt x="69850" y="2736743"/>
                    <a:pt x="69850" y="2687303"/>
                    <a:pt x="69850" y="2637864"/>
                  </a:cubicBezTo>
                  <a:cubicBezTo>
                    <a:pt x="112754" y="2604904"/>
                    <a:pt x="155659" y="2571945"/>
                    <a:pt x="195263" y="2535689"/>
                  </a:cubicBezTo>
                  <a:cubicBezTo>
                    <a:pt x="238167" y="2502730"/>
                    <a:pt x="277771" y="2469770"/>
                    <a:pt x="320675" y="2436811"/>
                  </a:cubicBezTo>
                  <a:close/>
                  <a:moveTo>
                    <a:pt x="795338" y="2400298"/>
                  </a:moveTo>
                  <a:cubicBezTo>
                    <a:pt x="795338" y="2492734"/>
                    <a:pt x="795338" y="2588471"/>
                    <a:pt x="795338" y="2680907"/>
                  </a:cubicBezTo>
                  <a:cubicBezTo>
                    <a:pt x="785337" y="2684208"/>
                    <a:pt x="772002" y="2687510"/>
                    <a:pt x="762000" y="2690811"/>
                  </a:cubicBezTo>
                  <a:cubicBezTo>
                    <a:pt x="762000" y="2601676"/>
                    <a:pt x="762000" y="2509240"/>
                    <a:pt x="762000" y="2420106"/>
                  </a:cubicBezTo>
                  <a:cubicBezTo>
                    <a:pt x="772002" y="2413503"/>
                    <a:pt x="785337" y="2406900"/>
                    <a:pt x="795338" y="2400298"/>
                  </a:cubicBezTo>
                  <a:close/>
                  <a:moveTo>
                    <a:pt x="180975" y="2328861"/>
                  </a:moveTo>
                  <a:cubicBezTo>
                    <a:pt x="180975" y="2381533"/>
                    <a:pt x="180975" y="2437496"/>
                    <a:pt x="180975" y="2493460"/>
                  </a:cubicBezTo>
                  <a:cubicBezTo>
                    <a:pt x="124924" y="2542839"/>
                    <a:pt x="68873" y="2592219"/>
                    <a:pt x="9525" y="2641599"/>
                  </a:cubicBezTo>
                  <a:cubicBezTo>
                    <a:pt x="12822" y="2598803"/>
                    <a:pt x="12822" y="2552715"/>
                    <a:pt x="12822" y="2506628"/>
                  </a:cubicBezTo>
                  <a:cubicBezTo>
                    <a:pt x="68873" y="2447372"/>
                    <a:pt x="124924" y="2388116"/>
                    <a:pt x="180975" y="2328861"/>
                  </a:cubicBezTo>
                  <a:close/>
                  <a:moveTo>
                    <a:pt x="46038" y="2295523"/>
                  </a:moveTo>
                  <a:cubicBezTo>
                    <a:pt x="46038" y="2341619"/>
                    <a:pt x="46038" y="2391008"/>
                    <a:pt x="46038" y="2437104"/>
                  </a:cubicBezTo>
                  <a:cubicBezTo>
                    <a:pt x="36037" y="2446982"/>
                    <a:pt x="22701" y="2460152"/>
                    <a:pt x="12700" y="2473323"/>
                  </a:cubicBezTo>
                  <a:cubicBezTo>
                    <a:pt x="12700" y="2427227"/>
                    <a:pt x="16034" y="2381130"/>
                    <a:pt x="16034" y="2338327"/>
                  </a:cubicBezTo>
                  <a:cubicBezTo>
                    <a:pt x="26035" y="2325156"/>
                    <a:pt x="36037" y="2308693"/>
                    <a:pt x="46038" y="2295523"/>
                  </a:cubicBezTo>
                  <a:close/>
                  <a:moveTo>
                    <a:pt x="596900" y="2212973"/>
                  </a:moveTo>
                  <a:cubicBezTo>
                    <a:pt x="596900" y="2292007"/>
                    <a:pt x="596900" y="2374334"/>
                    <a:pt x="593600" y="2453368"/>
                  </a:cubicBezTo>
                  <a:cubicBezTo>
                    <a:pt x="553996" y="2479713"/>
                    <a:pt x="511092" y="2506057"/>
                    <a:pt x="471488" y="2532402"/>
                  </a:cubicBezTo>
                  <a:cubicBezTo>
                    <a:pt x="428583" y="2558747"/>
                    <a:pt x="388979" y="2585091"/>
                    <a:pt x="346075" y="2611436"/>
                  </a:cubicBezTo>
                  <a:cubicBezTo>
                    <a:pt x="346075" y="2545574"/>
                    <a:pt x="346075" y="2479713"/>
                    <a:pt x="346075" y="2413851"/>
                  </a:cubicBezTo>
                  <a:cubicBezTo>
                    <a:pt x="388979" y="2380920"/>
                    <a:pt x="428583" y="2344696"/>
                    <a:pt x="471488" y="2311765"/>
                  </a:cubicBezTo>
                  <a:cubicBezTo>
                    <a:pt x="514392" y="2278835"/>
                    <a:pt x="553996" y="2245904"/>
                    <a:pt x="596900" y="2212973"/>
                  </a:cubicBezTo>
                  <a:close/>
                  <a:moveTo>
                    <a:pt x="795338" y="2051048"/>
                  </a:moveTo>
                  <a:cubicBezTo>
                    <a:pt x="795338" y="2143367"/>
                    <a:pt x="795338" y="2235687"/>
                    <a:pt x="795338" y="2328006"/>
                  </a:cubicBezTo>
                  <a:cubicBezTo>
                    <a:pt x="739287" y="2364274"/>
                    <a:pt x="679939" y="2400543"/>
                    <a:pt x="623888" y="2436811"/>
                  </a:cubicBezTo>
                  <a:cubicBezTo>
                    <a:pt x="623888" y="2354383"/>
                    <a:pt x="623888" y="2271955"/>
                    <a:pt x="623888" y="2189527"/>
                  </a:cubicBezTo>
                  <a:cubicBezTo>
                    <a:pt x="679939" y="2143367"/>
                    <a:pt x="739287" y="2097208"/>
                    <a:pt x="795338" y="2051048"/>
                  </a:cubicBezTo>
                  <a:close/>
                  <a:moveTo>
                    <a:pt x="458788" y="2035173"/>
                  </a:moveTo>
                  <a:cubicBezTo>
                    <a:pt x="458788" y="2107669"/>
                    <a:pt x="458788" y="2180165"/>
                    <a:pt x="458788" y="2252660"/>
                  </a:cubicBezTo>
                  <a:cubicBezTo>
                    <a:pt x="415862" y="2288908"/>
                    <a:pt x="376238" y="2325156"/>
                    <a:pt x="333312" y="2361404"/>
                  </a:cubicBezTo>
                  <a:cubicBezTo>
                    <a:pt x="293688" y="2397652"/>
                    <a:pt x="250762" y="2433900"/>
                    <a:pt x="211138" y="2470148"/>
                  </a:cubicBezTo>
                  <a:cubicBezTo>
                    <a:pt x="211138" y="2410833"/>
                    <a:pt x="211138" y="2354814"/>
                    <a:pt x="211138" y="2298794"/>
                  </a:cubicBezTo>
                  <a:cubicBezTo>
                    <a:pt x="254064" y="2252660"/>
                    <a:pt x="293688" y="2209822"/>
                    <a:pt x="336614" y="2166983"/>
                  </a:cubicBezTo>
                  <a:cubicBezTo>
                    <a:pt x="376238" y="2124145"/>
                    <a:pt x="419164" y="2078011"/>
                    <a:pt x="458788" y="2035173"/>
                  </a:cubicBezTo>
                  <a:close/>
                  <a:moveTo>
                    <a:pt x="323850" y="1939923"/>
                  </a:moveTo>
                  <a:cubicBezTo>
                    <a:pt x="323850" y="2005675"/>
                    <a:pt x="323850" y="2068139"/>
                    <a:pt x="320550" y="2130603"/>
                  </a:cubicBezTo>
                  <a:cubicBezTo>
                    <a:pt x="280946" y="2176629"/>
                    <a:pt x="238042" y="2222655"/>
                    <a:pt x="198438" y="2268682"/>
                  </a:cubicBezTo>
                  <a:cubicBezTo>
                    <a:pt x="155533" y="2314708"/>
                    <a:pt x="115929" y="2357447"/>
                    <a:pt x="73025" y="2403473"/>
                  </a:cubicBezTo>
                  <a:cubicBezTo>
                    <a:pt x="76325" y="2357447"/>
                    <a:pt x="76325" y="2308133"/>
                    <a:pt x="76325" y="2258819"/>
                  </a:cubicBezTo>
                  <a:cubicBezTo>
                    <a:pt x="119230" y="2206218"/>
                    <a:pt x="158834" y="2153616"/>
                    <a:pt x="198438" y="2101015"/>
                  </a:cubicBezTo>
                  <a:cubicBezTo>
                    <a:pt x="241342" y="2045126"/>
                    <a:pt x="280946" y="1992524"/>
                    <a:pt x="323850" y="1939923"/>
                  </a:cubicBezTo>
                  <a:close/>
                  <a:moveTo>
                    <a:pt x="52388" y="1930398"/>
                  </a:moveTo>
                  <a:cubicBezTo>
                    <a:pt x="52388" y="1979665"/>
                    <a:pt x="52388" y="2025648"/>
                    <a:pt x="49054" y="2071631"/>
                  </a:cubicBezTo>
                  <a:cubicBezTo>
                    <a:pt x="39053" y="2088053"/>
                    <a:pt x="29051" y="2104475"/>
                    <a:pt x="19050" y="2120898"/>
                  </a:cubicBezTo>
                  <a:cubicBezTo>
                    <a:pt x="19050" y="2078200"/>
                    <a:pt x="19050" y="2032217"/>
                    <a:pt x="22384" y="1986234"/>
                  </a:cubicBezTo>
                  <a:cubicBezTo>
                    <a:pt x="32385" y="1969812"/>
                    <a:pt x="42387" y="1950105"/>
                    <a:pt x="52388" y="1930398"/>
                  </a:cubicBezTo>
                  <a:close/>
                  <a:moveTo>
                    <a:pt x="187325" y="1897061"/>
                  </a:moveTo>
                  <a:cubicBezTo>
                    <a:pt x="187325" y="1953060"/>
                    <a:pt x="184028" y="2009059"/>
                    <a:pt x="184028" y="2061764"/>
                  </a:cubicBezTo>
                  <a:cubicBezTo>
                    <a:pt x="127977" y="2140822"/>
                    <a:pt x="71926" y="2216585"/>
                    <a:pt x="15875" y="2292349"/>
                  </a:cubicBezTo>
                  <a:cubicBezTo>
                    <a:pt x="15875" y="2246232"/>
                    <a:pt x="19172" y="2200115"/>
                    <a:pt x="19172" y="2157292"/>
                  </a:cubicBezTo>
                  <a:cubicBezTo>
                    <a:pt x="75223" y="2071646"/>
                    <a:pt x="131274" y="1982707"/>
                    <a:pt x="187325" y="1897061"/>
                  </a:cubicBezTo>
                  <a:close/>
                  <a:moveTo>
                    <a:pt x="735013" y="1741486"/>
                  </a:moveTo>
                  <a:cubicBezTo>
                    <a:pt x="735013" y="1833712"/>
                    <a:pt x="735013" y="1922645"/>
                    <a:pt x="735013" y="2011577"/>
                  </a:cubicBezTo>
                  <a:cubicBezTo>
                    <a:pt x="692109" y="2047809"/>
                    <a:pt x="652505" y="2080747"/>
                    <a:pt x="609601" y="2116979"/>
                  </a:cubicBezTo>
                  <a:cubicBezTo>
                    <a:pt x="566696" y="2153210"/>
                    <a:pt x="527092" y="2189442"/>
                    <a:pt x="484188" y="2225674"/>
                  </a:cubicBezTo>
                  <a:cubicBezTo>
                    <a:pt x="484188" y="2153210"/>
                    <a:pt x="487488" y="2077453"/>
                    <a:pt x="487488" y="2004990"/>
                  </a:cubicBezTo>
                  <a:cubicBezTo>
                    <a:pt x="527092" y="1962170"/>
                    <a:pt x="569997" y="1916057"/>
                    <a:pt x="609601" y="1873238"/>
                  </a:cubicBezTo>
                  <a:cubicBezTo>
                    <a:pt x="652505" y="1830418"/>
                    <a:pt x="692109" y="1787599"/>
                    <a:pt x="735013" y="1741486"/>
                  </a:cubicBezTo>
                  <a:close/>
                  <a:moveTo>
                    <a:pt x="795338" y="1679573"/>
                  </a:moveTo>
                  <a:cubicBezTo>
                    <a:pt x="795338" y="1771819"/>
                    <a:pt x="795338" y="1864065"/>
                    <a:pt x="795338" y="1959605"/>
                  </a:cubicBezTo>
                  <a:cubicBezTo>
                    <a:pt x="785337" y="1969488"/>
                    <a:pt x="772002" y="1976077"/>
                    <a:pt x="762000" y="1985961"/>
                  </a:cubicBezTo>
                  <a:cubicBezTo>
                    <a:pt x="762000" y="1897010"/>
                    <a:pt x="762000" y="1804764"/>
                    <a:pt x="762000" y="1712518"/>
                  </a:cubicBezTo>
                  <a:cubicBezTo>
                    <a:pt x="772002" y="1702634"/>
                    <a:pt x="785337" y="1692751"/>
                    <a:pt x="795338" y="1679573"/>
                  </a:cubicBezTo>
                  <a:close/>
                  <a:moveTo>
                    <a:pt x="58738" y="1624012"/>
                  </a:moveTo>
                  <a:cubicBezTo>
                    <a:pt x="55563" y="1650258"/>
                    <a:pt x="55563" y="1679785"/>
                    <a:pt x="55563" y="1706032"/>
                  </a:cubicBezTo>
                  <a:cubicBezTo>
                    <a:pt x="46038" y="1728998"/>
                    <a:pt x="36513" y="1748683"/>
                    <a:pt x="26988" y="1771649"/>
                  </a:cubicBezTo>
                  <a:cubicBezTo>
                    <a:pt x="26988" y="1745402"/>
                    <a:pt x="26988" y="1719155"/>
                    <a:pt x="26988" y="1689628"/>
                  </a:cubicBezTo>
                  <a:cubicBezTo>
                    <a:pt x="36513" y="1669943"/>
                    <a:pt x="46038" y="1646977"/>
                    <a:pt x="58738" y="1624012"/>
                  </a:cubicBezTo>
                  <a:close/>
                  <a:moveTo>
                    <a:pt x="596900" y="1584324"/>
                  </a:moveTo>
                  <a:cubicBezTo>
                    <a:pt x="596900" y="1666479"/>
                    <a:pt x="596900" y="1745348"/>
                    <a:pt x="596900" y="1827504"/>
                  </a:cubicBezTo>
                  <a:cubicBezTo>
                    <a:pt x="553974" y="1873511"/>
                    <a:pt x="514350" y="1916232"/>
                    <a:pt x="471424" y="1962239"/>
                  </a:cubicBezTo>
                  <a:cubicBezTo>
                    <a:pt x="431800" y="2008247"/>
                    <a:pt x="388874" y="2054254"/>
                    <a:pt x="349250" y="2100261"/>
                  </a:cubicBezTo>
                  <a:cubicBezTo>
                    <a:pt x="349250" y="2034536"/>
                    <a:pt x="349250" y="1968812"/>
                    <a:pt x="349250" y="1903087"/>
                  </a:cubicBezTo>
                  <a:cubicBezTo>
                    <a:pt x="392176" y="1850507"/>
                    <a:pt x="431800" y="1797928"/>
                    <a:pt x="474726" y="1745348"/>
                  </a:cubicBezTo>
                  <a:cubicBezTo>
                    <a:pt x="514350" y="1692769"/>
                    <a:pt x="557276" y="1640189"/>
                    <a:pt x="596900" y="1584324"/>
                  </a:cubicBezTo>
                  <a:close/>
                  <a:moveTo>
                    <a:pt x="461963" y="1474788"/>
                  </a:moveTo>
                  <a:cubicBezTo>
                    <a:pt x="461963" y="1544058"/>
                    <a:pt x="461963" y="1616625"/>
                    <a:pt x="461963" y="1689194"/>
                  </a:cubicBezTo>
                  <a:cubicBezTo>
                    <a:pt x="419037" y="1745270"/>
                    <a:pt x="379413" y="1801345"/>
                    <a:pt x="336487" y="1857421"/>
                  </a:cubicBezTo>
                  <a:cubicBezTo>
                    <a:pt x="296863" y="1913497"/>
                    <a:pt x="253937" y="1969573"/>
                    <a:pt x="214313" y="2025649"/>
                  </a:cubicBezTo>
                  <a:cubicBezTo>
                    <a:pt x="214313" y="1966274"/>
                    <a:pt x="214313" y="1910199"/>
                    <a:pt x="214313" y="1854123"/>
                  </a:cubicBezTo>
                  <a:cubicBezTo>
                    <a:pt x="257239" y="1791450"/>
                    <a:pt x="296863" y="1725478"/>
                    <a:pt x="339789" y="1662805"/>
                  </a:cubicBezTo>
                  <a:cubicBezTo>
                    <a:pt x="379413" y="1600133"/>
                    <a:pt x="419037" y="1537461"/>
                    <a:pt x="461963" y="1474788"/>
                  </a:cubicBezTo>
                  <a:close/>
                  <a:moveTo>
                    <a:pt x="190501" y="1465265"/>
                  </a:moveTo>
                  <a:cubicBezTo>
                    <a:pt x="190501" y="1521300"/>
                    <a:pt x="190501" y="1577335"/>
                    <a:pt x="190501" y="1630075"/>
                  </a:cubicBezTo>
                  <a:cubicBezTo>
                    <a:pt x="134938" y="1735555"/>
                    <a:pt x="79376" y="1837740"/>
                    <a:pt x="23813" y="1939924"/>
                  </a:cubicBezTo>
                  <a:cubicBezTo>
                    <a:pt x="23813" y="1897072"/>
                    <a:pt x="23813" y="1850925"/>
                    <a:pt x="27081" y="1808073"/>
                  </a:cubicBezTo>
                  <a:cubicBezTo>
                    <a:pt x="79376" y="1692704"/>
                    <a:pt x="134938" y="1580631"/>
                    <a:pt x="190501" y="1465265"/>
                  </a:cubicBezTo>
                  <a:close/>
                  <a:moveTo>
                    <a:pt x="327025" y="1446213"/>
                  </a:moveTo>
                  <a:cubicBezTo>
                    <a:pt x="327025" y="1508766"/>
                    <a:pt x="327025" y="1571318"/>
                    <a:pt x="323723" y="1637162"/>
                  </a:cubicBezTo>
                  <a:cubicBezTo>
                    <a:pt x="284099" y="1699715"/>
                    <a:pt x="244475" y="1765560"/>
                    <a:pt x="201549" y="1831406"/>
                  </a:cubicBezTo>
                  <a:cubicBezTo>
                    <a:pt x="161925" y="1897251"/>
                    <a:pt x="118999" y="1963096"/>
                    <a:pt x="79375" y="2025649"/>
                  </a:cubicBezTo>
                  <a:cubicBezTo>
                    <a:pt x="79375" y="1979557"/>
                    <a:pt x="79375" y="1930173"/>
                    <a:pt x="82677" y="1880789"/>
                  </a:cubicBezTo>
                  <a:cubicBezTo>
                    <a:pt x="122301" y="1808360"/>
                    <a:pt x="161925" y="1735930"/>
                    <a:pt x="204851" y="1663500"/>
                  </a:cubicBezTo>
                  <a:cubicBezTo>
                    <a:pt x="244475" y="1591071"/>
                    <a:pt x="287401" y="1518643"/>
                    <a:pt x="327025" y="1446213"/>
                  </a:cubicBezTo>
                  <a:close/>
                  <a:moveTo>
                    <a:pt x="795338" y="1330325"/>
                  </a:moveTo>
                  <a:cubicBezTo>
                    <a:pt x="795338" y="1422693"/>
                    <a:pt x="795338" y="1515060"/>
                    <a:pt x="795338" y="1607427"/>
                  </a:cubicBezTo>
                  <a:cubicBezTo>
                    <a:pt x="739246" y="1670105"/>
                    <a:pt x="683155" y="1732783"/>
                    <a:pt x="627063" y="1795461"/>
                  </a:cubicBezTo>
                  <a:cubicBezTo>
                    <a:pt x="627063" y="1712990"/>
                    <a:pt x="627063" y="1630519"/>
                    <a:pt x="627063" y="1548048"/>
                  </a:cubicBezTo>
                  <a:cubicBezTo>
                    <a:pt x="683155" y="1475475"/>
                    <a:pt x="739246" y="1402900"/>
                    <a:pt x="795338" y="1330325"/>
                  </a:cubicBezTo>
                  <a:close/>
                  <a:moveTo>
                    <a:pt x="735013" y="1050923"/>
                  </a:moveTo>
                  <a:cubicBezTo>
                    <a:pt x="735013" y="1139694"/>
                    <a:pt x="735013" y="1228464"/>
                    <a:pt x="735013" y="1317235"/>
                  </a:cubicBezTo>
                  <a:cubicBezTo>
                    <a:pt x="692087" y="1373126"/>
                    <a:pt x="652463" y="1429019"/>
                    <a:pt x="609537" y="1484912"/>
                  </a:cubicBezTo>
                  <a:cubicBezTo>
                    <a:pt x="569913" y="1540803"/>
                    <a:pt x="530289" y="1596695"/>
                    <a:pt x="487363" y="1652586"/>
                  </a:cubicBezTo>
                  <a:cubicBezTo>
                    <a:pt x="487363" y="1576968"/>
                    <a:pt x="487363" y="1504638"/>
                    <a:pt x="487363" y="1429019"/>
                  </a:cubicBezTo>
                  <a:cubicBezTo>
                    <a:pt x="530289" y="1366550"/>
                    <a:pt x="569913" y="1304083"/>
                    <a:pt x="612839" y="1241615"/>
                  </a:cubicBezTo>
                  <a:cubicBezTo>
                    <a:pt x="652463" y="1179147"/>
                    <a:pt x="692087" y="1113391"/>
                    <a:pt x="735013" y="1050923"/>
                  </a:cubicBezTo>
                  <a:close/>
                  <a:moveTo>
                    <a:pt x="330200" y="1023938"/>
                  </a:moveTo>
                  <a:cubicBezTo>
                    <a:pt x="330200" y="1063448"/>
                    <a:pt x="330200" y="1102959"/>
                    <a:pt x="330200" y="1139177"/>
                  </a:cubicBezTo>
                  <a:cubicBezTo>
                    <a:pt x="287252" y="1224786"/>
                    <a:pt x="247607" y="1307102"/>
                    <a:pt x="207963" y="1392709"/>
                  </a:cubicBezTo>
                  <a:cubicBezTo>
                    <a:pt x="165014" y="1478318"/>
                    <a:pt x="125370" y="1563923"/>
                    <a:pt x="85725" y="1646236"/>
                  </a:cubicBezTo>
                  <a:cubicBezTo>
                    <a:pt x="85725" y="1619896"/>
                    <a:pt x="85725" y="1590263"/>
                    <a:pt x="85725" y="1560630"/>
                  </a:cubicBezTo>
                  <a:cubicBezTo>
                    <a:pt x="125370" y="1471732"/>
                    <a:pt x="168318" y="1382830"/>
                    <a:pt x="207963" y="1293931"/>
                  </a:cubicBezTo>
                  <a:cubicBezTo>
                    <a:pt x="247607" y="1205030"/>
                    <a:pt x="287252" y="1112836"/>
                    <a:pt x="330200" y="1023938"/>
                  </a:cubicBezTo>
                  <a:close/>
                  <a:moveTo>
                    <a:pt x="600075" y="958849"/>
                  </a:moveTo>
                  <a:cubicBezTo>
                    <a:pt x="596773" y="1037827"/>
                    <a:pt x="596773" y="1120095"/>
                    <a:pt x="596773" y="1199074"/>
                  </a:cubicBezTo>
                  <a:cubicBezTo>
                    <a:pt x="557149" y="1264890"/>
                    <a:pt x="517525" y="1330705"/>
                    <a:pt x="474599" y="1396520"/>
                  </a:cubicBezTo>
                  <a:cubicBezTo>
                    <a:pt x="434975" y="1459046"/>
                    <a:pt x="392049" y="1524861"/>
                    <a:pt x="352425" y="1590674"/>
                  </a:cubicBezTo>
                  <a:cubicBezTo>
                    <a:pt x="352425" y="1524861"/>
                    <a:pt x="352425" y="1459046"/>
                    <a:pt x="352425" y="1393230"/>
                  </a:cubicBezTo>
                  <a:cubicBezTo>
                    <a:pt x="395351" y="1320833"/>
                    <a:pt x="434975" y="1248436"/>
                    <a:pt x="474599" y="1176039"/>
                  </a:cubicBezTo>
                  <a:cubicBezTo>
                    <a:pt x="517525" y="1103642"/>
                    <a:pt x="557149" y="1031246"/>
                    <a:pt x="600075" y="958849"/>
                  </a:cubicBezTo>
                  <a:close/>
                  <a:moveTo>
                    <a:pt x="795338" y="958849"/>
                  </a:moveTo>
                  <a:cubicBezTo>
                    <a:pt x="795338" y="1050923"/>
                    <a:pt x="795338" y="1146287"/>
                    <a:pt x="795338" y="1238363"/>
                  </a:cubicBezTo>
                  <a:cubicBezTo>
                    <a:pt x="785337" y="1251517"/>
                    <a:pt x="772002" y="1264671"/>
                    <a:pt x="762000" y="1281113"/>
                  </a:cubicBezTo>
                  <a:cubicBezTo>
                    <a:pt x="762000" y="1189037"/>
                    <a:pt x="762000" y="1100250"/>
                    <a:pt x="762000" y="1008175"/>
                  </a:cubicBezTo>
                  <a:cubicBezTo>
                    <a:pt x="775335" y="991733"/>
                    <a:pt x="785337" y="975291"/>
                    <a:pt x="795338" y="958849"/>
                  </a:cubicBezTo>
                  <a:close/>
                  <a:moveTo>
                    <a:pt x="465138" y="912813"/>
                  </a:moveTo>
                  <a:cubicBezTo>
                    <a:pt x="461836" y="985243"/>
                    <a:pt x="461836" y="1057674"/>
                    <a:pt x="461836" y="1130104"/>
                  </a:cubicBezTo>
                  <a:cubicBezTo>
                    <a:pt x="422212" y="1202535"/>
                    <a:pt x="382588" y="1278259"/>
                    <a:pt x="339662" y="1353982"/>
                  </a:cubicBezTo>
                  <a:cubicBezTo>
                    <a:pt x="300038" y="1429706"/>
                    <a:pt x="260414" y="1505429"/>
                    <a:pt x="217488" y="1581150"/>
                  </a:cubicBezTo>
                  <a:cubicBezTo>
                    <a:pt x="217488" y="1525182"/>
                    <a:pt x="217488" y="1465921"/>
                    <a:pt x="220790" y="1409951"/>
                  </a:cubicBezTo>
                  <a:cubicBezTo>
                    <a:pt x="260414" y="1327644"/>
                    <a:pt x="300038" y="1242043"/>
                    <a:pt x="342964" y="1159735"/>
                  </a:cubicBezTo>
                  <a:cubicBezTo>
                    <a:pt x="382588" y="1077426"/>
                    <a:pt x="422212" y="995120"/>
                    <a:pt x="465138" y="912813"/>
                  </a:cubicBezTo>
                  <a:close/>
                  <a:moveTo>
                    <a:pt x="795338" y="609600"/>
                  </a:moveTo>
                  <a:cubicBezTo>
                    <a:pt x="795338" y="701713"/>
                    <a:pt x="795338" y="793826"/>
                    <a:pt x="795338" y="885939"/>
                  </a:cubicBezTo>
                  <a:cubicBezTo>
                    <a:pt x="739246" y="974763"/>
                    <a:pt x="683155" y="1066875"/>
                    <a:pt x="627063" y="1155699"/>
                  </a:cubicBezTo>
                  <a:cubicBezTo>
                    <a:pt x="627063" y="1073455"/>
                    <a:pt x="627063" y="991212"/>
                    <a:pt x="627063" y="908968"/>
                  </a:cubicBezTo>
                  <a:cubicBezTo>
                    <a:pt x="683155" y="810275"/>
                    <a:pt x="739246" y="708293"/>
                    <a:pt x="795338" y="609600"/>
                  </a:cubicBezTo>
                  <a:close/>
                  <a:moveTo>
                    <a:pt x="600075" y="428625"/>
                  </a:moveTo>
                  <a:cubicBezTo>
                    <a:pt x="600075" y="477933"/>
                    <a:pt x="600075" y="523955"/>
                    <a:pt x="600075" y="573264"/>
                  </a:cubicBezTo>
                  <a:cubicBezTo>
                    <a:pt x="560431" y="658732"/>
                    <a:pt x="517482" y="740914"/>
                    <a:pt x="477838" y="826382"/>
                  </a:cubicBezTo>
                  <a:cubicBezTo>
                    <a:pt x="438193" y="911850"/>
                    <a:pt x="395245" y="997318"/>
                    <a:pt x="355600" y="1079498"/>
                  </a:cubicBezTo>
                  <a:cubicBezTo>
                    <a:pt x="355600" y="1040052"/>
                    <a:pt x="355600" y="1003893"/>
                    <a:pt x="355600" y="964446"/>
                  </a:cubicBezTo>
                  <a:cubicBezTo>
                    <a:pt x="398548" y="875691"/>
                    <a:pt x="438193" y="783648"/>
                    <a:pt x="477838" y="694892"/>
                  </a:cubicBezTo>
                  <a:cubicBezTo>
                    <a:pt x="517482" y="606136"/>
                    <a:pt x="560431" y="517380"/>
                    <a:pt x="600075" y="428625"/>
                  </a:cubicBezTo>
                  <a:close/>
                  <a:moveTo>
                    <a:pt x="735013" y="358774"/>
                  </a:moveTo>
                  <a:cubicBezTo>
                    <a:pt x="735013" y="447645"/>
                    <a:pt x="735013" y="536516"/>
                    <a:pt x="735013" y="625387"/>
                  </a:cubicBezTo>
                  <a:cubicBezTo>
                    <a:pt x="695626" y="701092"/>
                    <a:pt x="652956" y="776797"/>
                    <a:pt x="613569" y="849210"/>
                  </a:cubicBezTo>
                  <a:cubicBezTo>
                    <a:pt x="574182" y="924915"/>
                    <a:pt x="531512" y="1000620"/>
                    <a:pt x="492125" y="1076323"/>
                  </a:cubicBezTo>
                  <a:cubicBezTo>
                    <a:pt x="492125" y="1003911"/>
                    <a:pt x="492125" y="928207"/>
                    <a:pt x="492125" y="855793"/>
                  </a:cubicBezTo>
                  <a:cubicBezTo>
                    <a:pt x="531512" y="773506"/>
                    <a:pt x="574182" y="687926"/>
                    <a:pt x="613569" y="605638"/>
                  </a:cubicBezTo>
                  <a:cubicBezTo>
                    <a:pt x="652956" y="523350"/>
                    <a:pt x="695626" y="441062"/>
                    <a:pt x="735013" y="358774"/>
                  </a:cubicBezTo>
                  <a:close/>
                  <a:moveTo>
                    <a:pt x="795338" y="236538"/>
                  </a:moveTo>
                  <a:cubicBezTo>
                    <a:pt x="795338" y="328924"/>
                    <a:pt x="795338" y="424610"/>
                    <a:pt x="795338" y="516996"/>
                  </a:cubicBezTo>
                  <a:cubicBezTo>
                    <a:pt x="785337" y="536793"/>
                    <a:pt x="775335" y="553291"/>
                    <a:pt x="762000" y="573088"/>
                  </a:cubicBezTo>
                  <a:cubicBezTo>
                    <a:pt x="762000" y="484001"/>
                    <a:pt x="762000" y="391614"/>
                    <a:pt x="762000" y="302528"/>
                  </a:cubicBezTo>
                  <a:cubicBezTo>
                    <a:pt x="775335" y="279431"/>
                    <a:pt x="785337" y="259634"/>
                    <a:pt x="795338" y="236538"/>
                  </a:cubicBezTo>
                  <a:close/>
                  <a:moveTo>
                    <a:pt x="795338" y="0"/>
                  </a:moveTo>
                  <a:cubicBezTo>
                    <a:pt x="795338" y="56051"/>
                    <a:pt x="795338" y="112102"/>
                    <a:pt x="795338" y="164856"/>
                  </a:cubicBezTo>
                  <a:cubicBezTo>
                    <a:pt x="739246" y="283552"/>
                    <a:pt x="683155" y="398951"/>
                    <a:pt x="627063" y="514350"/>
                  </a:cubicBezTo>
                  <a:cubicBezTo>
                    <a:pt x="627063" y="464893"/>
                    <a:pt x="627063" y="415436"/>
                    <a:pt x="627063" y="369277"/>
                  </a:cubicBezTo>
                  <a:cubicBezTo>
                    <a:pt x="683155" y="243986"/>
                    <a:pt x="739246" y="121993"/>
                    <a:pt x="795338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/>
            <p:cNvSpPr/>
            <p:nvPr/>
          </p:nvSpPr>
          <p:spPr bwMode="auto">
            <a:xfrm>
              <a:off x="3587429" y="1133473"/>
              <a:ext cx="2414238" cy="2410740"/>
            </a:xfrm>
            <a:custGeom>
              <a:avLst/>
              <a:gdLst>
                <a:gd name="T0" fmla="*/ 0 w 998"/>
                <a:gd name="T1" fmla="*/ 0 h 998"/>
                <a:gd name="T2" fmla="*/ 998 w 998"/>
                <a:gd name="T3" fmla="*/ 0 h 998"/>
                <a:gd name="T4" fmla="*/ 998 w 998"/>
                <a:gd name="T5" fmla="*/ 757 h 998"/>
                <a:gd name="T6" fmla="*/ 756 w 998"/>
                <a:gd name="T7" fmla="*/ 998 h 998"/>
                <a:gd name="T8" fmla="*/ 0 w 998"/>
                <a:gd name="T9" fmla="*/ 998 h 998"/>
                <a:gd name="T10" fmla="*/ 0 w 998"/>
                <a:gd name="T11" fmla="*/ 0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8" h="998">
                  <a:moveTo>
                    <a:pt x="0" y="0"/>
                  </a:moveTo>
                  <a:cubicBezTo>
                    <a:pt x="998" y="0"/>
                    <a:pt x="998" y="0"/>
                    <a:pt x="998" y="0"/>
                  </a:cubicBezTo>
                  <a:cubicBezTo>
                    <a:pt x="998" y="757"/>
                    <a:pt x="998" y="757"/>
                    <a:pt x="998" y="757"/>
                  </a:cubicBezTo>
                  <a:cubicBezTo>
                    <a:pt x="873" y="774"/>
                    <a:pt x="774" y="873"/>
                    <a:pt x="756" y="998"/>
                  </a:cubicBezTo>
                  <a:cubicBezTo>
                    <a:pt x="0" y="998"/>
                    <a:pt x="0" y="998"/>
                    <a:pt x="0" y="9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/>
            <p:cNvSpPr/>
            <p:nvPr/>
          </p:nvSpPr>
          <p:spPr bwMode="auto">
            <a:xfrm>
              <a:off x="3807541" y="1355914"/>
              <a:ext cx="1971686" cy="1968187"/>
            </a:xfrm>
            <a:custGeom>
              <a:avLst/>
              <a:gdLst>
                <a:gd name="T0" fmla="*/ 0 w 815"/>
                <a:gd name="T1" fmla="*/ 0 h 815"/>
                <a:gd name="T2" fmla="*/ 815 w 815"/>
                <a:gd name="T3" fmla="*/ 0 h 815"/>
                <a:gd name="T4" fmla="*/ 815 w 815"/>
                <a:gd name="T5" fmla="*/ 411 h 815"/>
                <a:gd name="T6" fmla="*/ 411 w 815"/>
                <a:gd name="T7" fmla="*/ 815 h 815"/>
                <a:gd name="T8" fmla="*/ 0 w 815"/>
                <a:gd name="T9" fmla="*/ 815 h 815"/>
                <a:gd name="T10" fmla="*/ 0 w 815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" h="815">
                  <a:moveTo>
                    <a:pt x="0" y="0"/>
                  </a:moveTo>
                  <a:cubicBezTo>
                    <a:pt x="815" y="0"/>
                    <a:pt x="815" y="0"/>
                    <a:pt x="815" y="0"/>
                  </a:cubicBezTo>
                  <a:cubicBezTo>
                    <a:pt x="815" y="411"/>
                    <a:pt x="815" y="411"/>
                    <a:pt x="815" y="411"/>
                  </a:cubicBezTo>
                  <a:cubicBezTo>
                    <a:pt x="616" y="459"/>
                    <a:pt x="460" y="616"/>
                    <a:pt x="411" y="815"/>
                  </a:cubicBezTo>
                  <a:cubicBezTo>
                    <a:pt x="0" y="815"/>
                    <a:pt x="0" y="815"/>
                    <a:pt x="0" y="81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/>
            <p:cNvSpPr/>
            <p:nvPr/>
          </p:nvSpPr>
          <p:spPr bwMode="auto">
            <a:xfrm>
              <a:off x="8604572" y="1133473"/>
              <a:ext cx="583470" cy="2410740"/>
            </a:xfrm>
            <a:custGeom>
              <a:avLst/>
              <a:gdLst>
                <a:gd name="T0" fmla="*/ 501 w 501"/>
                <a:gd name="T1" fmla="*/ 1104 h 2070"/>
                <a:gd name="T2" fmla="*/ 0 w 501"/>
                <a:gd name="T3" fmla="*/ 0 h 2070"/>
                <a:gd name="T4" fmla="*/ 0 w 501"/>
                <a:gd name="T5" fmla="*/ 2070 h 2070"/>
                <a:gd name="T6" fmla="*/ 501 w 501"/>
                <a:gd name="T7" fmla="*/ 2070 h 2070"/>
                <a:gd name="T8" fmla="*/ 501 w 501"/>
                <a:gd name="T9" fmla="*/ 1104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1" h="2070">
                  <a:moveTo>
                    <a:pt x="501" y="1104"/>
                  </a:moveTo>
                  <a:lnTo>
                    <a:pt x="0" y="0"/>
                  </a:lnTo>
                  <a:lnTo>
                    <a:pt x="0" y="2070"/>
                  </a:lnTo>
                  <a:lnTo>
                    <a:pt x="501" y="2070"/>
                  </a:lnTo>
                  <a:lnTo>
                    <a:pt x="501" y="1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/>
            <p:cNvSpPr/>
            <p:nvPr/>
          </p:nvSpPr>
          <p:spPr bwMode="auto">
            <a:xfrm>
              <a:off x="8604572" y="1133474"/>
              <a:ext cx="583469" cy="2410739"/>
            </a:xfrm>
            <a:custGeom>
              <a:avLst/>
              <a:gdLst>
                <a:gd name="connsiteX0" fmla="*/ 620712 w 795337"/>
                <a:gd name="connsiteY0" fmla="*/ 3187698 h 3286124"/>
                <a:gd name="connsiteX1" fmla="*/ 792042 w 795337"/>
                <a:gd name="connsiteY1" fmla="*/ 3207383 h 3286124"/>
                <a:gd name="connsiteX2" fmla="*/ 795337 w 795337"/>
                <a:gd name="connsiteY2" fmla="*/ 3286123 h 3286124"/>
                <a:gd name="connsiteX3" fmla="*/ 620712 w 795337"/>
                <a:gd name="connsiteY3" fmla="*/ 3286123 h 3286124"/>
                <a:gd name="connsiteX4" fmla="*/ 620712 w 795337"/>
                <a:gd name="connsiteY4" fmla="*/ 3187698 h 3286124"/>
                <a:gd name="connsiteX5" fmla="*/ 339725 w 795337"/>
                <a:gd name="connsiteY5" fmla="*/ 3157536 h 3286124"/>
                <a:gd name="connsiteX6" fmla="*/ 465076 w 795337"/>
                <a:gd name="connsiteY6" fmla="*/ 3170724 h 3286124"/>
                <a:gd name="connsiteX7" fmla="*/ 590426 w 795337"/>
                <a:gd name="connsiteY7" fmla="*/ 3183913 h 3286124"/>
                <a:gd name="connsiteX8" fmla="*/ 593725 w 795337"/>
                <a:gd name="connsiteY8" fmla="*/ 3286124 h 3286124"/>
                <a:gd name="connsiteX9" fmla="*/ 465076 w 795337"/>
                <a:gd name="connsiteY9" fmla="*/ 3286124 h 3286124"/>
                <a:gd name="connsiteX10" fmla="*/ 339725 w 795337"/>
                <a:gd name="connsiteY10" fmla="*/ 3286124 h 3286124"/>
                <a:gd name="connsiteX11" fmla="*/ 339725 w 795337"/>
                <a:gd name="connsiteY11" fmla="*/ 3157536 h 3286124"/>
                <a:gd name="connsiteX12" fmla="*/ 60325 w 795337"/>
                <a:gd name="connsiteY12" fmla="*/ 3128961 h 3286124"/>
                <a:gd name="connsiteX13" fmla="*/ 185676 w 795337"/>
                <a:gd name="connsiteY13" fmla="*/ 3142058 h 3286124"/>
                <a:gd name="connsiteX14" fmla="*/ 311026 w 795337"/>
                <a:gd name="connsiteY14" fmla="*/ 3155155 h 3286124"/>
                <a:gd name="connsiteX15" fmla="*/ 314325 w 795337"/>
                <a:gd name="connsiteY15" fmla="*/ 3286124 h 3286124"/>
                <a:gd name="connsiteX16" fmla="*/ 185676 w 795337"/>
                <a:gd name="connsiteY16" fmla="*/ 3286124 h 3286124"/>
                <a:gd name="connsiteX17" fmla="*/ 60325 w 795337"/>
                <a:gd name="connsiteY17" fmla="*/ 3286124 h 3286124"/>
                <a:gd name="connsiteX18" fmla="*/ 60325 w 795337"/>
                <a:gd name="connsiteY18" fmla="*/ 3128961 h 3286124"/>
                <a:gd name="connsiteX19" fmla="*/ 0 w 795337"/>
                <a:gd name="connsiteY19" fmla="*/ 3122611 h 3286124"/>
                <a:gd name="connsiteX20" fmla="*/ 33338 w 795337"/>
                <a:gd name="connsiteY20" fmla="*/ 3125881 h 3286124"/>
                <a:gd name="connsiteX21" fmla="*/ 33338 w 795337"/>
                <a:gd name="connsiteY21" fmla="*/ 3286124 h 3286124"/>
                <a:gd name="connsiteX22" fmla="*/ 0 w 795337"/>
                <a:gd name="connsiteY22" fmla="*/ 3286124 h 3286124"/>
                <a:gd name="connsiteX23" fmla="*/ 0 w 795337"/>
                <a:gd name="connsiteY23" fmla="*/ 3122611 h 3286124"/>
                <a:gd name="connsiteX24" fmla="*/ 758825 w 795337"/>
                <a:gd name="connsiteY24" fmla="*/ 3025773 h 3286124"/>
                <a:gd name="connsiteX25" fmla="*/ 788829 w 795337"/>
                <a:gd name="connsiteY25" fmla="*/ 3035731 h 3286124"/>
                <a:gd name="connsiteX26" fmla="*/ 792163 w 795337"/>
                <a:gd name="connsiteY26" fmla="*/ 3171823 h 3286124"/>
                <a:gd name="connsiteX27" fmla="*/ 758825 w 795337"/>
                <a:gd name="connsiteY27" fmla="*/ 3168504 h 3286124"/>
                <a:gd name="connsiteX28" fmla="*/ 758825 w 795337"/>
                <a:gd name="connsiteY28" fmla="*/ 3025773 h 3286124"/>
                <a:gd name="connsiteX29" fmla="*/ 479425 w 795337"/>
                <a:gd name="connsiteY29" fmla="*/ 2933698 h 3286124"/>
                <a:gd name="connsiteX30" fmla="*/ 604776 w 795337"/>
                <a:gd name="connsiteY30" fmla="*/ 2973178 h 3286124"/>
                <a:gd name="connsiteX31" fmla="*/ 730126 w 795337"/>
                <a:gd name="connsiteY31" fmla="*/ 3015949 h 3286124"/>
                <a:gd name="connsiteX32" fmla="*/ 733425 w 795337"/>
                <a:gd name="connsiteY32" fmla="*/ 3160711 h 3286124"/>
                <a:gd name="connsiteX33" fmla="*/ 604776 w 795337"/>
                <a:gd name="connsiteY33" fmla="*/ 3144261 h 3286124"/>
                <a:gd name="connsiteX34" fmla="*/ 479425 w 795337"/>
                <a:gd name="connsiteY34" fmla="*/ 3124520 h 3286124"/>
                <a:gd name="connsiteX35" fmla="*/ 479425 w 795337"/>
                <a:gd name="connsiteY35" fmla="*/ 2933698 h 3286124"/>
                <a:gd name="connsiteX36" fmla="*/ 198437 w 795337"/>
                <a:gd name="connsiteY36" fmla="*/ 2838448 h 3286124"/>
                <a:gd name="connsiteX37" fmla="*/ 323788 w 795337"/>
                <a:gd name="connsiteY37" fmla="*/ 2881180 h 3286124"/>
                <a:gd name="connsiteX38" fmla="*/ 449138 w 795337"/>
                <a:gd name="connsiteY38" fmla="*/ 2923911 h 3286124"/>
                <a:gd name="connsiteX39" fmla="*/ 452437 w 795337"/>
                <a:gd name="connsiteY39" fmla="*/ 3117848 h 3286124"/>
                <a:gd name="connsiteX40" fmla="*/ 327086 w 795337"/>
                <a:gd name="connsiteY40" fmla="*/ 3101413 h 3286124"/>
                <a:gd name="connsiteX41" fmla="*/ 201736 w 795337"/>
                <a:gd name="connsiteY41" fmla="*/ 3081690 h 3286124"/>
                <a:gd name="connsiteX42" fmla="*/ 198437 w 795337"/>
                <a:gd name="connsiteY42" fmla="*/ 2838448 h 3286124"/>
                <a:gd name="connsiteX43" fmla="*/ 0 w 795337"/>
                <a:gd name="connsiteY43" fmla="*/ 2773361 h 3286124"/>
                <a:gd name="connsiteX44" fmla="*/ 171450 w 795337"/>
                <a:gd name="connsiteY44" fmla="*/ 2829096 h 3286124"/>
                <a:gd name="connsiteX45" fmla="*/ 171450 w 795337"/>
                <a:gd name="connsiteY45" fmla="*/ 3074986 h 3286124"/>
                <a:gd name="connsiteX46" fmla="*/ 0 w 795337"/>
                <a:gd name="connsiteY46" fmla="*/ 3048758 h 3286124"/>
                <a:gd name="connsiteX47" fmla="*/ 0 w 795337"/>
                <a:gd name="connsiteY47" fmla="*/ 2773361 h 3286124"/>
                <a:gd name="connsiteX48" fmla="*/ 617537 w 795337"/>
                <a:gd name="connsiteY48" fmla="*/ 2759073 h 3286124"/>
                <a:gd name="connsiteX49" fmla="*/ 785690 w 795337"/>
                <a:gd name="connsiteY49" fmla="*/ 2858405 h 3286124"/>
                <a:gd name="connsiteX50" fmla="*/ 788987 w 795337"/>
                <a:gd name="connsiteY50" fmla="*/ 2990848 h 3286124"/>
                <a:gd name="connsiteX51" fmla="*/ 617537 w 795337"/>
                <a:gd name="connsiteY51" fmla="*/ 2924626 h 3286124"/>
                <a:gd name="connsiteX52" fmla="*/ 617537 w 795337"/>
                <a:gd name="connsiteY52" fmla="*/ 2759073 h 3286124"/>
                <a:gd name="connsiteX53" fmla="*/ 752475 w 795337"/>
                <a:gd name="connsiteY53" fmla="*/ 2660648 h 3286124"/>
                <a:gd name="connsiteX54" fmla="*/ 785813 w 795337"/>
                <a:gd name="connsiteY54" fmla="*/ 2687085 h 3286124"/>
                <a:gd name="connsiteX55" fmla="*/ 785813 w 795337"/>
                <a:gd name="connsiteY55" fmla="*/ 2822573 h 3286124"/>
                <a:gd name="connsiteX56" fmla="*/ 755809 w 795337"/>
                <a:gd name="connsiteY56" fmla="*/ 2802745 h 3286124"/>
                <a:gd name="connsiteX57" fmla="*/ 752475 w 795337"/>
                <a:gd name="connsiteY57" fmla="*/ 2660648 h 3286124"/>
                <a:gd name="connsiteX58" fmla="*/ 336550 w 795337"/>
                <a:gd name="connsiteY58" fmla="*/ 2598736 h 3286124"/>
                <a:gd name="connsiteX59" fmla="*/ 461963 w 795337"/>
                <a:gd name="connsiteY59" fmla="*/ 2671133 h 3286124"/>
                <a:gd name="connsiteX60" fmla="*/ 587375 w 795337"/>
                <a:gd name="connsiteY60" fmla="*/ 2743529 h 3286124"/>
                <a:gd name="connsiteX61" fmla="*/ 587375 w 795337"/>
                <a:gd name="connsiteY61" fmla="*/ 2914649 h 3286124"/>
                <a:gd name="connsiteX62" fmla="*/ 465263 w 795337"/>
                <a:gd name="connsiteY62" fmla="*/ 2861997 h 3286124"/>
                <a:gd name="connsiteX63" fmla="*/ 339850 w 795337"/>
                <a:gd name="connsiteY63" fmla="*/ 2812635 h 3286124"/>
                <a:gd name="connsiteX64" fmla="*/ 336550 w 795337"/>
                <a:gd name="connsiteY64" fmla="*/ 2598736 h 3286124"/>
                <a:gd name="connsiteX65" fmla="*/ 474662 w 795337"/>
                <a:gd name="connsiteY65" fmla="*/ 2436811 h 3286124"/>
                <a:gd name="connsiteX66" fmla="*/ 600075 w 795337"/>
                <a:gd name="connsiteY66" fmla="*/ 2535689 h 3286124"/>
                <a:gd name="connsiteX67" fmla="*/ 722187 w 795337"/>
                <a:gd name="connsiteY67" fmla="*/ 2637864 h 3286124"/>
                <a:gd name="connsiteX68" fmla="*/ 725487 w 795337"/>
                <a:gd name="connsiteY68" fmla="*/ 2782886 h 3286124"/>
                <a:gd name="connsiteX69" fmla="*/ 600075 w 795337"/>
                <a:gd name="connsiteY69" fmla="*/ 2707079 h 3286124"/>
                <a:gd name="connsiteX70" fmla="*/ 474662 w 795337"/>
                <a:gd name="connsiteY70" fmla="*/ 2627976 h 3286124"/>
                <a:gd name="connsiteX71" fmla="*/ 474662 w 795337"/>
                <a:gd name="connsiteY71" fmla="*/ 2436811 h 3286124"/>
                <a:gd name="connsiteX72" fmla="*/ 60325 w 795337"/>
                <a:gd name="connsiteY72" fmla="*/ 2436811 h 3286124"/>
                <a:gd name="connsiteX73" fmla="*/ 185737 w 795337"/>
                <a:gd name="connsiteY73" fmla="*/ 2509178 h 3286124"/>
                <a:gd name="connsiteX74" fmla="*/ 311150 w 795337"/>
                <a:gd name="connsiteY74" fmla="*/ 2581545 h 3286124"/>
                <a:gd name="connsiteX75" fmla="*/ 311150 w 795337"/>
                <a:gd name="connsiteY75" fmla="*/ 2801936 h 3286124"/>
                <a:gd name="connsiteX76" fmla="*/ 185737 w 795337"/>
                <a:gd name="connsiteY76" fmla="*/ 2752595 h 3286124"/>
                <a:gd name="connsiteX77" fmla="*/ 60325 w 795337"/>
                <a:gd name="connsiteY77" fmla="*/ 2703253 h 3286124"/>
                <a:gd name="connsiteX78" fmla="*/ 60325 w 795337"/>
                <a:gd name="connsiteY78" fmla="*/ 2436811 h 3286124"/>
                <a:gd name="connsiteX79" fmla="*/ 0 w 795337"/>
                <a:gd name="connsiteY79" fmla="*/ 2400298 h 3286124"/>
                <a:gd name="connsiteX80" fmla="*/ 33338 w 795337"/>
                <a:gd name="connsiteY80" fmla="*/ 2420106 h 3286124"/>
                <a:gd name="connsiteX81" fmla="*/ 33338 w 795337"/>
                <a:gd name="connsiteY81" fmla="*/ 2690811 h 3286124"/>
                <a:gd name="connsiteX82" fmla="*/ 0 w 795337"/>
                <a:gd name="connsiteY82" fmla="*/ 2680907 h 3286124"/>
                <a:gd name="connsiteX83" fmla="*/ 0 w 795337"/>
                <a:gd name="connsiteY83" fmla="*/ 2400298 h 3286124"/>
                <a:gd name="connsiteX84" fmla="*/ 611187 w 795337"/>
                <a:gd name="connsiteY84" fmla="*/ 2328861 h 3286124"/>
                <a:gd name="connsiteX85" fmla="*/ 782637 w 795337"/>
                <a:gd name="connsiteY85" fmla="*/ 2506628 h 3286124"/>
                <a:gd name="connsiteX86" fmla="*/ 782637 w 795337"/>
                <a:gd name="connsiteY86" fmla="*/ 2641599 h 3286124"/>
                <a:gd name="connsiteX87" fmla="*/ 614484 w 795337"/>
                <a:gd name="connsiteY87" fmla="*/ 2493460 h 3286124"/>
                <a:gd name="connsiteX88" fmla="*/ 611187 w 795337"/>
                <a:gd name="connsiteY88" fmla="*/ 2328861 h 3286124"/>
                <a:gd name="connsiteX89" fmla="*/ 746125 w 795337"/>
                <a:gd name="connsiteY89" fmla="*/ 2295523 h 3286124"/>
                <a:gd name="connsiteX90" fmla="*/ 779319 w 795337"/>
                <a:gd name="connsiteY90" fmla="*/ 2338327 h 3286124"/>
                <a:gd name="connsiteX91" fmla="*/ 782638 w 795337"/>
                <a:gd name="connsiteY91" fmla="*/ 2473323 h 3286124"/>
                <a:gd name="connsiteX92" fmla="*/ 749444 w 795337"/>
                <a:gd name="connsiteY92" fmla="*/ 2437104 h 3286124"/>
                <a:gd name="connsiteX93" fmla="*/ 746125 w 795337"/>
                <a:gd name="connsiteY93" fmla="*/ 2295523 h 3286124"/>
                <a:gd name="connsiteX94" fmla="*/ 198437 w 795337"/>
                <a:gd name="connsiteY94" fmla="*/ 2212973 h 3286124"/>
                <a:gd name="connsiteX95" fmla="*/ 323849 w 795337"/>
                <a:gd name="connsiteY95" fmla="*/ 2311765 h 3286124"/>
                <a:gd name="connsiteX96" fmla="*/ 445962 w 795337"/>
                <a:gd name="connsiteY96" fmla="*/ 2413851 h 3286124"/>
                <a:gd name="connsiteX97" fmla="*/ 449262 w 795337"/>
                <a:gd name="connsiteY97" fmla="*/ 2611436 h 3286124"/>
                <a:gd name="connsiteX98" fmla="*/ 323849 w 795337"/>
                <a:gd name="connsiteY98" fmla="*/ 2532402 h 3286124"/>
                <a:gd name="connsiteX99" fmla="*/ 198437 w 795337"/>
                <a:gd name="connsiteY99" fmla="*/ 2453368 h 3286124"/>
                <a:gd name="connsiteX100" fmla="*/ 198437 w 795337"/>
                <a:gd name="connsiteY100" fmla="*/ 2212973 h 3286124"/>
                <a:gd name="connsiteX101" fmla="*/ 0 w 795337"/>
                <a:gd name="connsiteY101" fmla="*/ 2051048 h 3286124"/>
                <a:gd name="connsiteX102" fmla="*/ 168153 w 795337"/>
                <a:gd name="connsiteY102" fmla="*/ 2189527 h 3286124"/>
                <a:gd name="connsiteX103" fmla="*/ 171450 w 795337"/>
                <a:gd name="connsiteY103" fmla="*/ 2436811 h 3286124"/>
                <a:gd name="connsiteX104" fmla="*/ 0 w 795337"/>
                <a:gd name="connsiteY104" fmla="*/ 2328006 h 3286124"/>
                <a:gd name="connsiteX105" fmla="*/ 0 w 795337"/>
                <a:gd name="connsiteY105" fmla="*/ 2051048 h 3286124"/>
                <a:gd name="connsiteX106" fmla="*/ 336550 w 795337"/>
                <a:gd name="connsiteY106" fmla="*/ 2035173 h 3286124"/>
                <a:gd name="connsiteX107" fmla="*/ 458724 w 795337"/>
                <a:gd name="connsiteY107" fmla="*/ 2166983 h 3286124"/>
                <a:gd name="connsiteX108" fmla="*/ 584200 w 795337"/>
                <a:gd name="connsiteY108" fmla="*/ 2298794 h 3286124"/>
                <a:gd name="connsiteX109" fmla="*/ 584200 w 795337"/>
                <a:gd name="connsiteY109" fmla="*/ 2470148 h 3286124"/>
                <a:gd name="connsiteX110" fmla="*/ 458724 w 795337"/>
                <a:gd name="connsiteY110" fmla="*/ 2361404 h 3286124"/>
                <a:gd name="connsiteX111" fmla="*/ 336550 w 795337"/>
                <a:gd name="connsiteY111" fmla="*/ 2252660 h 3286124"/>
                <a:gd name="connsiteX112" fmla="*/ 336550 w 795337"/>
                <a:gd name="connsiteY112" fmla="*/ 2035173 h 3286124"/>
                <a:gd name="connsiteX113" fmla="*/ 471487 w 795337"/>
                <a:gd name="connsiteY113" fmla="*/ 1939923 h 3286124"/>
                <a:gd name="connsiteX114" fmla="*/ 593661 w 795337"/>
                <a:gd name="connsiteY114" fmla="*/ 2101015 h 3286124"/>
                <a:gd name="connsiteX115" fmla="*/ 719137 w 795337"/>
                <a:gd name="connsiteY115" fmla="*/ 2258819 h 3286124"/>
                <a:gd name="connsiteX116" fmla="*/ 719137 w 795337"/>
                <a:gd name="connsiteY116" fmla="*/ 2403473 h 3286124"/>
                <a:gd name="connsiteX117" fmla="*/ 596963 w 795337"/>
                <a:gd name="connsiteY117" fmla="*/ 2268682 h 3286124"/>
                <a:gd name="connsiteX118" fmla="*/ 471487 w 795337"/>
                <a:gd name="connsiteY118" fmla="*/ 2130603 h 3286124"/>
                <a:gd name="connsiteX119" fmla="*/ 471487 w 795337"/>
                <a:gd name="connsiteY119" fmla="*/ 1939923 h 3286124"/>
                <a:gd name="connsiteX120" fmla="*/ 742950 w 795337"/>
                <a:gd name="connsiteY120" fmla="*/ 1930398 h 3286124"/>
                <a:gd name="connsiteX121" fmla="*/ 772954 w 795337"/>
                <a:gd name="connsiteY121" fmla="*/ 1986234 h 3286124"/>
                <a:gd name="connsiteX122" fmla="*/ 776288 w 795337"/>
                <a:gd name="connsiteY122" fmla="*/ 2120898 h 3286124"/>
                <a:gd name="connsiteX123" fmla="*/ 742950 w 795337"/>
                <a:gd name="connsiteY123" fmla="*/ 2071631 h 3286124"/>
                <a:gd name="connsiteX124" fmla="*/ 742950 w 795337"/>
                <a:gd name="connsiteY124" fmla="*/ 1930398 h 3286124"/>
                <a:gd name="connsiteX125" fmla="*/ 608012 w 795337"/>
                <a:gd name="connsiteY125" fmla="*/ 1897061 h 3286124"/>
                <a:gd name="connsiteX126" fmla="*/ 776165 w 795337"/>
                <a:gd name="connsiteY126" fmla="*/ 2157292 h 3286124"/>
                <a:gd name="connsiteX127" fmla="*/ 779462 w 795337"/>
                <a:gd name="connsiteY127" fmla="*/ 2292349 h 3286124"/>
                <a:gd name="connsiteX128" fmla="*/ 608012 w 795337"/>
                <a:gd name="connsiteY128" fmla="*/ 2061764 h 3286124"/>
                <a:gd name="connsiteX129" fmla="*/ 608012 w 795337"/>
                <a:gd name="connsiteY129" fmla="*/ 1897061 h 3286124"/>
                <a:gd name="connsiteX130" fmla="*/ 60325 w 795337"/>
                <a:gd name="connsiteY130" fmla="*/ 1741486 h 3286124"/>
                <a:gd name="connsiteX131" fmla="*/ 182499 w 795337"/>
                <a:gd name="connsiteY131" fmla="*/ 1873238 h 3286124"/>
                <a:gd name="connsiteX132" fmla="*/ 307975 w 795337"/>
                <a:gd name="connsiteY132" fmla="*/ 2004990 h 3286124"/>
                <a:gd name="connsiteX133" fmla="*/ 307975 w 795337"/>
                <a:gd name="connsiteY133" fmla="*/ 2225674 h 3286124"/>
                <a:gd name="connsiteX134" fmla="*/ 185801 w 795337"/>
                <a:gd name="connsiteY134" fmla="*/ 2116979 h 3286124"/>
                <a:gd name="connsiteX135" fmla="*/ 60325 w 795337"/>
                <a:gd name="connsiteY135" fmla="*/ 2011577 h 3286124"/>
                <a:gd name="connsiteX136" fmla="*/ 60325 w 795337"/>
                <a:gd name="connsiteY136" fmla="*/ 1741486 h 3286124"/>
                <a:gd name="connsiteX137" fmla="*/ 0 w 795337"/>
                <a:gd name="connsiteY137" fmla="*/ 1679573 h 3286124"/>
                <a:gd name="connsiteX138" fmla="*/ 30163 w 795337"/>
                <a:gd name="connsiteY138" fmla="*/ 1712518 h 3286124"/>
                <a:gd name="connsiteX139" fmla="*/ 30163 w 795337"/>
                <a:gd name="connsiteY139" fmla="*/ 1985961 h 3286124"/>
                <a:gd name="connsiteX140" fmla="*/ 0 w 795337"/>
                <a:gd name="connsiteY140" fmla="*/ 1959605 h 3286124"/>
                <a:gd name="connsiteX141" fmla="*/ 0 w 795337"/>
                <a:gd name="connsiteY141" fmla="*/ 1679573 h 3286124"/>
                <a:gd name="connsiteX142" fmla="*/ 736600 w 795337"/>
                <a:gd name="connsiteY142" fmla="*/ 1624012 h 3286124"/>
                <a:gd name="connsiteX143" fmla="*/ 768350 w 795337"/>
                <a:gd name="connsiteY143" fmla="*/ 1689628 h 3286124"/>
                <a:gd name="connsiteX144" fmla="*/ 768350 w 795337"/>
                <a:gd name="connsiteY144" fmla="*/ 1771649 h 3286124"/>
                <a:gd name="connsiteX145" fmla="*/ 736600 w 795337"/>
                <a:gd name="connsiteY145" fmla="*/ 1706032 h 3286124"/>
                <a:gd name="connsiteX146" fmla="*/ 736600 w 795337"/>
                <a:gd name="connsiteY146" fmla="*/ 1624012 h 3286124"/>
                <a:gd name="connsiteX147" fmla="*/ 198437 w 795337"/>
                <a:gd name="connsiteY147" fmla="*/ 1584324 h 3286124"/>
                <a:gd name="connsiteX148" fmla="*/ 320611 w 795337"/>
                <a:gd name="connsiteY148" fmla="*/ 1745348 h 3286124"/>
                <a:gd name="connsiteX149" fmla="*/ 442785 w 795337"/>
                <a:gd name="connsiteY149" fmla="*/ 1903087 h 3286124"/>
                <a:gd name="connsiteX150" fmla="*/ 446087 w 795337"/>
                <a:gd name="connsiteY150" fmla="*/ 2100261 h 3286124"/>
                <a:gd name="connsiteX151" fmla="*/ 320611 w 795337"/>
                <a:gd name="connsiteY151" fmla="*/ 1962239 h 3286124"/>
                <a:gd name="connsiteX152" fmla="*/ 198437 w 795337"/>
                <a:gd name="connsiteY152" fmla="*/ 1827504 h 3286124"/>
                <a:gd name="connsiteX153" fmla="*/ 198437 w 795337"/>
                <a:gd name="connsiteY153" fmla="*/ 1584324 h 3286124"/>
                <a:gd name="connsiteX154" fmla="*/ 333375 w 795337"/>
                <a:gd name="connsiteY154" fmla="*/ 1474788 h 3286124"/>
                <a:gd name="connsiteX155" fmla="*/ 455549 w 795337"/>
                <a:gd name="connsiteY155" fmla="*/ 1662805 h 3286124"/>
                <a:gd name="connsiteX156" fmla="*/ 577723 w 795337"/>
                <a:gd name="connsiteY156" fmla="*/ 1854123 h 3286124"/>
                <a:gd name="connsiteX157" fmla="*/ 581025 w 795337"/>
                <a:gd name="connsiteY157" fmla="*/ 2025649 h 3286124"/>
                <a:gd name="connsiteX158" fmla="*/ 455549 w 795337"/>
                <a:gd name="connsiteY158" fmla="*/ 1857421 h 3286124"/>
                <a:gd name="connsiteX159" fmla="*/ 333375 w 795337"/>
                <a:gd name="connsiteY159" fmla="*/ 1689194 h 3286124"/>
                <a:gd name="connsiteX160" fmla="*/ 333375 w 795337"/>
                <a:gd name="connsiteY160" fmla="*/ 1474788 h 3286124"/>
                <a:gd name="connsiteX161" fmla="*/ 600075 w 795337"/>
                <a:gd name="connsiteY161" fmla="*/ 1465265 h 3286124"/>
                <a:gd name="connsiteX162" fmla="*/ 768228 w 795337"/>
                <a:gd name="connsiteY162" fmla="*/ 1808073 h 3286124"/>
                <a:gd name="connsiteX163" fmla="*/ 771525 w 795337"/>
                <a:gd name="connsiteY163" fmla="*/ 1939924 h 3286124"/>
                <a:gd name="connsiteX164" fmla="*/ 603372 w 795337"/>
                <a:gd name="connsiteY164" fmla="*/ 1630075 h 3286124"/>
                <a:gd name="connsiteX165" fmla="*/ 600075 w 795337"/>
                <a:gd name="connsiteY165" fmla="*/ 1465265 h 3286124"/>
                <a:gd name="connsiteX166" fmla="*/ 468312 w 795337"/>
                <a:gd name="connsiteY166" fmla="*/ 1446213 h 3286124"/>
                <a:gd name="connsiteX167" fmla="*/ 590486 w 795337"/>
                <a:gd name="connsiteY167" fmla="*/ 1663500 h 3286124"/>
                <a:gd name="connsiteX168" fmla="*/ 712660 w 795337"/>
                <a:gd name="connsiteY168" fmla="*/ 1880789 h 3286124"/>
                <a:gd name="connsiteX169" fmla="*/ 715962 w 795337"/>
                <a:gd name="connsiteY169" fmla="*/ 2025649 h 3286124"/>
                <a:gd name="connsiteX170" fmla="*/ 590486 w 795337"/>
                <a:gd name="connsiteY170" fmla="*/ 1831406 h 3286124"/>
                <a:gd name="connsiteX171" fmla="*/ 468312 w 795337"/>
                <a:gd name="connsiteY171" fmla="*/ 1637162 h 3286124"/>
                <a:gd name="connsiteX172" fmla="*/ 468312 w 795337"/>
                <a:gd name="connsiteY172" fmla="*/ 1446213 h 3286124"/>
                <a:gd name="connsiteX173" fmla="*/ 0 w 795337"/>
                <a:gd name="connsiteY173" fmla="*/ 1330325 h 3286124"/>
                <a:gd name="connsiteX174" fmla="*/ 168275 w 795337"/>
                <a:gd name="connsiteY174" fmla="*/ 1548048 h 3286124"/>
                <a:gd name="connsiteX175" fmla="*/ 168275 w 795337"/>
                <a:gd name="connsiteY175" fmla="*/ 1795461 h 3286124"/>
                <a:gd name="connsiteX176" fmla="*/ 0 w 795337"/>
                <a:gd name="connsiteY176" fmla="*/ 1607427 h 3286124"/>
                <a:gd name="connsiteX177" fmla="*/ 0 w 795337"/>
                <a:gd name="connsiteY177" fmla="*/ 1330325 h 3286124"/>
                <a:gd name="connsiteX178" fmla="*/ 60325 w 795337"/>
                <a:gd name="connsiteY178" fmla="*/ 1050923 h 3286124"/>
                <a:gd name="connsiteX179" fmla="*/ 182499 w 795337"/>
                <a:gd name="connsiteY179" fmla="*/ 1241615 h 3286124"/>
                <a:gd name="connsiteX180" fmla="*/ 304673 w 795337"/>
                <a:gd name="connsiteY180" fmla="*/ 1429019 h 3286124"/>
                <a:gd name="connsiteX181" fmla="*/ 307975 w 795337"/>
                <a:gd name="connsiteY181" fmla="*/ 1652586 h 3286124"/>
                <a:gd name="connsiteX182" fmla="*/ 182499 w 795337"/>
                <a:gd name="connsiteY182" fmla="*/ 1484912 h 3286124"/>
                <a:gd name="connsiteX183" fmla="*/ 60325 w 795337"/>
                <a:gd name="connsiteY183" fmla="*/ 1317235 h 3286124"/>
                <a:gd name="connsiteX184" fmla="*/ 60325 w 795337"/>
                <a:gd name="connsiteY184" fmla="*/ 1050923 h 3286124"/>
                <a:gd name="connsiteX185" fmla="*/ 465137 w 795337"/>
                <a:gd name="connsiteY185" fmla="*/ 1023938 h 3286124"/>
                <a:gd name="connsiteX186" fmla="*/ 587375 w 795337"/>
                <a:gd name="connsiteY186" fmla="*/ 1293931 h 3286124"/>
                <a:gd name="connsiteX187" fmla="*/ 709612 w 795337"/>
                <a:gd name="connsiteY187" fmla="*/ 1560630 h 3286124"/>
                <a:gd name="connsiteX188" fmla="*/ 709612 w 795337"/>
                <a:gd name="connsiteY188" fmla="*/ 1646236 h 3286124"/>
                <a:gd name="connsiteX189" fmla="*/ 587375 w 795337"/>
                <a:gd name="connsiteY189" fmla="*/ 1392709 h 3286124"/>
                <a:gd name="connsiteX190" fmla="*/ 465137 w 795337"/>
                <a:gd name="connsiteY190" fmla="*/ 1139177 h 3286124"/>
                <a:gd name="connsiteX191" fmla="*/ 465137 w 795337"/>
                <a:gd name="connsiteY191" fmla="*/ 1023938 h 3286124"/>
                <a:gd name="connsiteX192" fmla="*/ 195262 w 795337"/>
                <a:gd name="connsiteY192" fmla="*/ 958849 h 3286124"/>
                <a:gd name="connsiteX193" fmla="*/ 317436 w 795337"/>
                <a:gd name="connsiteY193" fmla="*/ 1176039 h 3286124"/>
                <a:gd name="connsiteX194" fmla="*/ 439610 w 795337"/>
                <a:gd name="connsiteY194" fmla="*/ 1393230 h 3286124"/>
                <a:gd name="connsiteX195" fmla="*/ 442912 w 795337"/>
                <a:gd name="connsiteY195" fmla="*/ 1590674 h 3286124"/>
                <a:gd name="connsiteX196" fmla="*/ 317436 w 795337"/>
                <a:gd name="connsiteY196" fmla="*/ 1396520 h 3286124"/>
                <a:gd name="connsiteX197" fmla="*/ 195262 w 795337"/>
                <a:gd name="connsiteY197" fmla="*/ 1199074 h 3286124"/>
                <a:gd name="connsiteX198" fmla="*/ 195262 w 795337"/>
                <a:gd name="connsiteY198" fmla="*/ 958849 h 3286124"/>
                <a:gd name="connsiteX199" fmla="*/ 0 w 795337"/>
                <a:gd name="connsiteY199" fmla="*/ 958849 h 3286124"/>
                <a:gd name="connsiteX200" fmla="*/ 30163 w 795337"/>
                <a:gd name="connsiteY200" fmla="*/ 1008175 h 3286124"/>
                <a:gd name="connsiteX201" fmla="*/ 30163 w 795337"/>
                <a:gd name="connsiteY201" fmla="*/ 1281113 h 3286124"/>
                <a:gd name="connsiteX202" fmla="*/ 0 w 795337"/>
                <a:gd name="connsiteY202" fmla="*/ 1238363 h 3286124"/>
                <a:gd name="connsiteX203" fmla="*/ 0 w 795337"/>
                <a:gd name="connsiteY203" fmla="*/ 958849 h 3286124"/>
                <a:gd name="connsiteX204" fmla="*/ 330200 w 795337"/>
                <a:gd name="connsiteY204" fmla="*/ 912813 h 3286124"/>
                <a:gd name="connsiteX205" fmla="*/ 452374 w 795337"/>
                <a:gd name="connsiteY205" fmla="*/ 1159735 h 3286124"/>
                <a:gd name="connsiteX206" fmla="*/ 574548 w 795337"/>
                <a:gd name="connsiteY206" fmla="*/ 1409951 h 3286124"/>
                <a:gd name="connsiteX207" fmla="*/ 577850 w 795337"/>
                <a:gd name="connsiteY207" fmla="*/ 1581150 h 3286124"/>
                <a:gd name="connsiteX208" fmla="*/ 452374 w 795337"/>
                <a:gd name="connsiteY208" fmla="*/ 1353982 h 3286124"/>
                <a:gd name="connsiteX209" fmla="*/ 330200 w 795337"/>
                <a:gd name="connsiteY209" fmla="*/ 1130104 h 3286124"/>
                <a:gd name="connsiteX210" fmla="*/ 330200 w 795337"/>
                <a:gd name="connsiteY210" fmla="*/ 912813 h 3286124"/>
                <a:gd name="connsiteX211" fmla="*/ 0 w 795337"/>
                <a:gd name="connsiteY211" fmla="*/ 609600 h 3286124"/>
                <a:gd name="connsiteX212" fmla="*/ 168275 w 795337"/>
                <a:gd name="connsiteY212" fmla="*/ 908968 h 3286124"/>
                <a:gd name="connsiteX213" fmla="*/ 168275 w 795337"/>
                <a:gd name="connsiteY213" fmla="*/ 1155699 h 3286124"/>
                <a:gd name="connsiteX214" fmla="*/ 0 w 795337"/>
                <a:gd name="connsiteY214" fmla="*/ 885939 h 3286124"/>
                <a:gd name="connsiteX215" fmla="*/ 0 w 795337"/>
                <a:gd name="connsiteY215" fmla="*/ 609600 h 3286124"/>
                <a:gd name="connsiteX216" fmla="*/ 195262 w 795337"/>
                <a:gd name="connsiteY216" fmla="*/ 428625 h 3286124"/>
                <a:gd name="connsiteX217" fmla="*/ 317499 w 795337"/>
                <a:gd name="connsiteY217" fmla="*/ 694892 h 3286124"/>
                <a:gd name="connsiteX218" fmla="*/ 436433 w 795337"/>
                <a:gd name="connsiteY218" fmla="*/ 964446 h 3286124"/>
                <a:gd name="connsiteX219" fmla="*/ 439737 w 795337"/>
                <a:gd name="connsiteY219" fmla="*/ 1079498 h 3286124"/>
                <a:gd name="connsiteX220" fmla="*/ 317499 w 795337"/>
                <a:gd name="connsiteY220" fmla="*/ 826382 h 3286124"/>
                <a:gd name="connsiteX221" fmla="*/ 195262 w 795337"/>
                <a:gd name="connsiteY221" fmla="*/ 573264 h 3286124"/>
                <a:gd name="connsiteX222" fmla="*/ 195262 w 795337"/>
                <a:gd name="connsiteY222" fmla="*/ 428625 h 3286124"/>
                <a:gd name="connsiteX223" fmla="*/ 60325 w 795337"/>
                <a:gd name="connsiteY223" fmla="*/ 358774 h 3286124"/>
                <a:gd name="connsiteX224" fmla="*/ 181769 w 795337"/>
                <a:gd name="connsiteY224" fmla="*/ 605638 h 3286124"/>
                <a:gd name="connsiteX225" fmla="*/ 303213 w 795337"/>
                <a:gd name="connsiteY225" fmla="*/ 855793 h 3286124"/>
                <a:gd name="connsiteX226" fmla="*/ 303213 w 795337"/>
                <a:gd name="connsiteY226" fmla="*/ 1076323 h 3286124"/>
                <a:gd name="connsiteX227" fmla="*/ 181769 w 795337"/>
                <a:gd name="connsiteY227" fmla="*/ 849210 h 3286124"/>
                <a:gd name="connsiteX228" fmla="*/ 60325 w 795337"/>
                <a:gd name="connsiteY228" fmla="*/ 625387 h 3286124"/>
                <a:gd name="connsiteX229" fmla="*/ 60325 w 795337"/>
                <a:gd name="connsiteY229" fmla="*/ 358774 h 3286124"/>
                <a:gd name="connsiteX230" fmla="*/ 0 w 795337"/>
                <a:gd name="connsiteY230" fmla="*/ 236538 h 3286124"/>
                <a:gd name="connsiteX231" fmla="*/ 30163 w 795337"/>
                <a:gd name="connsiteY231" fmla="*/ 302528 h 3286124"/>
                <a:gd name="connsiteX232" fmla="*/ 30163 w 795337"/>
                <a:gd name="connsiteY232" fmla="*/ 573088 h 3286124"/>
                <a:gd name="connsiteX233" fmla="*/ 0 w 795337"/>
                <a:gd name="connsiteY233" fmla="*/ 516996 h 3286124"/>
                <a:gd name="connsiteX234" fmla="*/ 0 w 795337"/>
                <a:gd name="connsiteY234" fmla="*/ 236538 h 3286124"/>
                <a:gd name="connsiteX235" fmla="*/ 0 w 795337"/>
                <a:gd name="connsiteY235" fmla="*/ 0 h 3286124"/>
                <a:gd name="connsiteX236" fmla="*/ 165100 w 795337"/>
                <a:gd name="connsiteY236" fmla="*/ 369277 h 3286124"/>
                <a:gd name="connsiteX237" fmla="*/ 165100 w 795337"/>
                <a:gd name="connsiteY237" fmla="*/ 514350 h 3286124"/>
                <a:gd name="connsiteX238" fmla="*/ 0 w 795337"/>
                <a:gd name="connsiteY238" fmla="*/ 164856 h 3286124"/>
                <a:gd name="connsiteX239" fmla="*/ 0 w 795337"/>
                <a:gd name="connsiteY239" fmla="*/ 0 h 328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795337" h="3286124">
                  <a:moveTo>
                    <a:pt x="620712" y="3187698"/>
                  </a:moveTo>
                  <a:cubicBezTo>
                    <a:pt x="676724" y="3194260"/>
                    <a:pt x="736030" y="3200821"/>
                    <a:pt x="792042" y="3207383"/>
                  </a:cubicBezTo>
                  <a:cubicBezTo>
                    <a:pt x="792042" y="3233630"/>
                    <a:pt x="795337" y="3259876"/>
                    <a:pt x="795337" y="3286123"/>
                  </a:cubicBezTo>
                  <a:cubicBezTo>
                    <a:pt x="736030" y="3286123"/>
                    <a:pt x="680019" y="3286123"/>
                    <a:pt x="620712" y="3286123"/>
                  </a:cubicBezTo>
                  <a:cubicBezTo>
                    <a:pt x="620712" y="3253315"/>
                    <a:pt x="620712" y="3220506"/>
                    <a:pt x="620712" y="3187698"/>
                  </a:cubicBezTo>
                  <a:close/>
                  <a:moveTo>
                    <a:pt x="339725" y="3157536"/>
                  </a:moveTo>
                  <a:cubicBezTo>
                    <a:pt x="382608" y="3164130"/>
                    <a:pt x="422193" y="3167427"/>
                    <a:pt x="465076" y="3170724"/>
                  </a:cubicBezTo>
                  <a:cubicBezTo>
                    <a:pt x="507959" y="3177319"/>
                    <a:pt x="550842" y="3180616"/>
                    <a:pt x="590426" y="3183913"/>
                  </a:cubicBezTo>
                  <a:cubicBezTo>
                    <a:pt x="590426" y="3220182"/>
                    <a:pt x="593725" y="3253153"/>
                    <a:pt x="593725" y="3286124"/>
                  </a:cubicBezTo>
                  <a:cubicBezTo>
                    <a:pt x="550842" y="3286124"/>
                    <a:pt x="507959" y="3286124"/>
                    <a:pt x="465076" y="3286124"/>
                  </a:cubicBezTo>
                  <a:cubicBezTo>
                    <a:pt x="425491" y="3286124"/>
                    <a:pt x="382608" y="3286124"/>
                    <a:pt x="339725" y="3286124"/>
                  </a:cubicBezTo>
                  <a:cubicBezTo>
                    <a:pt x="339725" y="3243261"/>
                    <a:pt x="339725" y="3200399"/>
                    <a:pt x="339725" y="3157536"/>
                  </a:cubicBezTo>
                  <a:close/>
                  <a:moveTo>
                    <a:pt x="60325" y="3128961"/>
                  </a:moveTo>
                  <a:cubicBezTo>
                    <a:pt x="103208" y="3135509"/>
                    <a:pt x="146091" y="3138784"/>
                    <a:pt x="185676" y="3142058"/>
                  </a:cubicBezTo>
                  <a:cubicBezTo>
                    <a:pt x="228559" y="3148606"/>
                    <a:pt x="271442" y="3151880"/>
                    <a:pt x="311026" y="3155155"/>
                  </a:cubicBezTo>
                  <a:cubicBezTo>
                    <a:pt x="311026" y="3200994"/>
                    <a:pt x="314325" y="3243559"/>
                    <a:pt x="314325" y="3286124"/>
                  </a:cubicBezTo>
                  <a:cubicBezTo>
                    <a:pt x="271442" y="3286124"/>
                    <a:pt x="228559" y="3286124"/>
                    <a:pt x="185676" y="3286124"/>
                  </a:cubicBezTo>
                  <a:cubicBezTo>
                    <a:pt x="146091" y="3286124"/>
                    <a:pt x="103208" y="3286124"/>
                    <a:pt x="60325" y="3286124"/>
                  </a:cubicBezTo>
                  <a:cubicBezTo>
                    <a:pt x="60325" y="3233736"/>
                    <a:pt x="60325" y="3181349"/>
                    <a:pt x="60325" y="3128961"/>
                  </a:cubicBezTo>
                  <a:close/>
                  <a:moveTo>
                    <a:pt x="0" y="3122611"/>
                  </a:moveTo>
                  <a:cubicBezTo>
                    <a:pt x="10001" y="3125881"/>
                    <a:pt x="20003" y="3125881"/>
                    <a:pt x="33338" y="3125881"/>
                  </a:cubicBezTo>
                  <a:cubicBezTo>
                    <a:pt x="33338" y="3181476"/>
                    <a:pt x="33338" y="3233800"/>
                    <a:pt x="33338" y="3286124"/>
                  </a:cubicBezTo>
                  <a:cubicBezTo>
                    <a:pt x="20003" y="3286124"/>
                    <a:pt x="10001" y="3286124"/>
                    <a:pt x="0" y="3286124"/>
                  </a:cubicBezTo>
                  <a:cubicBezTo>
                    <a:pt x="0" y="3233800"/>
                    <a:pt x="0" y="3178205"/>
                    <a:pt x="0" y="3122611"/>
                  </a:cubicBezTo>
                  <a:close/>
                  <a:moveTo>
                    <a:pt x="758825" y="3025773"/>
                  </a:moveTo>
                  <a:cubicBezTo>
                    <a:pt x="768826" y="3029092"/>
                    <a:pt x="778828" y="3032412"/>
                    <a:pt x="788829" y="3035731"/>
                  </a:cubicBezTo>
                  <a:cubicBezTo>
                    <a:pt x="792163" y="3082201"/>
                    <a:pt x="792163" y="3128672"/>
                    <a:pt x="792163" y="3171823"/>
                  </a:cubicBezTo>
                  <a:cubicBezTo>
                    <a:pt x="782162" y="3171823"/>
                    <a:pt x="772160" y="3168504"/>
                    <a:pt x="758825" y="3168504"/>
                  </a:cubicBezTo>
                  <a:cubicBezTo>
                    <a:pt x="758825" y="3122033"/>
                    <a:pt x="758825" y="3072243"/>
                    <a:pt x="758825" y="3025773"/>
                  </a:cubicBezTo>
                  <a:close/>
                  <a:moveTo>
                    <a:pt x="479425" y="2933698"/>
                  </a:moveTo>
                  <a:cubicBezTo>
                    <a:pt x="522308" y="2946858"/>
                    <a:pt x="561893" y="2960018"/>
                    <a:pt x="604776" y="2973178"/>
                  </a:cubicBezTo>
                  <a:cubicBezTo>
                    <a:pt x="647659" y="2989629"/>
                    <a:pt x="687243" y="3002789"/>
                    <a:pt x="730126" y="3015949"/>
                  </a:cubicBezTo>
                  <a:cubicBezTo>
                    <a:pt x="730126" y="3065300"/>
                    <a:pt x="730126" y="3114650"/>
                    <a:pt x="733425" y="3160711"/>
                  </a:cubicBezTo>
                  <a:cubicBezTo>
                    <a:pt x="690542" y="3154131"/>
                    <a:pt x="647659" y="3150841"/>
                    <a:pt x="604776" y="3144261"/>
                  </a:cubicBezTo>
                  <a:cubicBezTo>
                    <a:pt x="565191" y="3137681"/>
                    <a:pt x="522308" y="3131100"/>
                    <a:pt x="479425" y="3124520"/>
                  </a:cubicBezTo>
                  <a:cubicBezTo>
                    <a:pt x="479425" y="3058720"/>
                    <a:pt x="479425" y="2996209"/>
                    <a:pt x="479425" y="2933698"/>
                  </a:cubicBezTo>
                  <a:close/>
                  <a:moveTo>
                    <a:pt x="198437" y="2838448"/>
                  </a:moveTo>
                  <a:cubicBezTo>
                    <a:pt x="241320" y="2854883"/>
                    <a:pt x="284203" y="2868031"/>
                    <a:pt x="323788" y="2881180"/>
                  </a:cubicBezTo>
                  <a:cubicBezTo>
                    <a:pt x="366671" y="2894328"/>
                    <a:pt x="409554" y="2910763"/>
                    <a:pt x="449138" y="2923911"/>
                  </a:cubicBezTo>
                  <a:cubicBezTo>
                    <a:pt x="452437" y="2989653"/>
                    <a:pt x="452437" y="3055394"/>
                    <a:pt x="452437" y="3117848"/>
                  </a:cubicBezTo>
                  <a:cubicBezTo>
                    <a:pt x="409554" y="3111274"/>
                    <a:pt x="366671" y="3104700"/>
                    <a:pt x="327086" y="3101413"/>
                  </a:cubicBezTo>
                  <a:cubicBezTo>
                    <a:pt x="284203" y="3094838"/>
                    <a:pt x="241320" y="3088264"/>
                    <a:pt x="201736" y="3081690"/>
                  </a:cubicBezTo>
                  <a:cubicBezTo>
                    <a:pt x="201736" y="2999514"/>
                    <a:pt x="201736" y="2920624"/>
                    <a:pt x="198437" y="2838448"/>
                  </a:cubicBezTo>
                  <a:close/>
                  <a:moveTo>
                    <a:pt x="0" y="2773361"/>
                  </a:moveTo>
                  <a:cubicBezTo>
                    <a:pt x="56051" y="2793032"/>
                    <a:pt x="112102" y="2812703"/>
                    <a:pt x="171450" y="2829096"/>
                  </a:cubicBezTo>
                  <a:cubicBezTo>
                    <a:pt x="171450" y="2911059"/>
                    <a:pt x="171450" y="2993023"/>
                    <a:pt x="171450" y="3074986"/>
                  </a:cubicBezTo>
                  <a:cubicBezTo>
                    <a:pt x="115399" y="3068429"/>
                    <a:pt x="56051" y="3058593"/>
                    <a:pt x="0" y="3048758"/>
                  </a:cubicBezTo>
                  <a:cubicBezTo>
                    <a:pt x="0" y="2956959"/>
                    <a:pt x="0" y="2865160"/>
                    <a:pt x="0" y="2773361"/>
                  </a:cubicBezTo>
                  <a:close/>
                  <a:moveTo>
                    <a:pt x="617537" y="2759073"/>
                  </a:moveTo>
                  <a:cubicBezTo>
                    <a:pt x="673588" y="2792184"/>
                    <a:pt x="729639" y="2825294"/>
                    <a:pt x="785690" y="2858405"/>
                  </a:cubicBezTo>
                  <a:cubicBezTo>
                    <a:pt x="788987" y="2901449"/>
                    <a:pt x="788987" y="2947804"/>
                    <a:pt x="788987" y="2990848"/>
                  </a:cubicBezTo>
                  <a:cubicBezTo>
                    <a:pt x="732936" y="2970981"/>
                    <a:pt x="673588" y="2947804"/>
                    <a:pt x="617537" y="2924626"/>
                  </a:cubicBezTo>
                  <a:cubicBezTo>
                    <a:pt x="617537" y="2868338"/>
                    <a:pt x="617537" y="2812050"/>
                    <a:pt x="617537" y="2759073"/>
                  </a:cubicBezTo>
                  <a:close/>
                  <a:moveTo>
                    <a:pt x="752475" y="2660648"/>
                  </a:moveTo>
                  <a:cubicBezTo>
                    <a:pt x="762476" y="2670562"/>
                    <a:pt x="772478" y="2677171"/>
                    <a:pt x="785813" y="2687085"/>
                  </a:cubicBezTo>
                  <a:cubicBezTo>
                    <a:pt x="785813" y="2733349"/>
                    <a:pt x="785813" y="2776309"/>
                    <a:pt x="785813" y="2822573"/>
                  </a:cubicBezTo>
                  <a:cubicBezTo>
                    <a:pt x="775812" y="2815964"/>
                    <a:pt x="765810" y="2809354"/>
                    <a:pt x="755809" y="2802745"/>
                  </a:cubicBezTo>
                  <a:cubicBezTo>
                    <a:pt x="752475" y="2756481"/>
                    <a:pt x="752475" y="2706912"/>
                    <a:pt x="752475" y="2660648"/>
                  </a:cubicBezTo>
                  <a:close/>
                  <a:moveTo>
                    <a:pt x="336550" y="2598736"/>
                  </a:moveTo>
                  <a:cubicBezTo>
                    <a:pt x="379454" y="2621771"/>
                    <a:pt x="422359" y="2644807"/>
                    <a:pt x="461963" y="2671133"/>
                  </a:cubicBezTo>
                  <a:cubicBezTo>
                    <a:pt x="504867" y="2694168"/>
                    <a:pt x="544471" y="2717203"/>
                    <a:pt x="587375" y="2743529"/>
                  </a:cubicBezTo>
                  <a:cubicBezTo>
                    <a:pt x="587375" y="2799472"/>
                    <a:pt x="587375" y="2855415"/>
                    <a:pt x="587375" y="2914649"/>
                  </a:cubicBezTo>
                  <a:cubicBezTo>
                    <a:pt x="547771" y="2894904"/>
                    <a:pt x="504867" y="2878450"/>
                    <a:pt x="465263" y="2861997"/>
                  </a:cubicBezTo>
                  <a:cubicBezTo>
                    <a:pt x="422359" y="2845543"/>
                    <a:pt x="379454" y="2829089"/>
                    <a:pt x="339850" y="2812635"/>
                  </a:cubicBezTo>
                  <a:cubicBezTo>
                    <a:pt x="339850" y="2743529"/>
                    <a:pt x="336550" y="2671133"/>
                    <a:pt x="336550" y="2598736"/>
                  </a:cubicBezTo>
                  <a:close/>
                  <a:moveTo>
                    <a:pt x="474662" y="2436811"/>
                  </a:moveTo>
                  <a:cubicBezTo>
                    <a:pt x="517566" y="2469770"/>
                    <a:pt x="557170" y="2502730"/>
                    <a:pt x="600075" y="2535689"/>
                  </a:cubicBezTo>
                  <a:cubicBezTo>
                    <a:pt x="639678" y="2571945"/>
                    <a:pt x="682583" y="2604904"/>
                    <a:pt x="722187" y="2637864"/>
                  </a:cubicBezTo>
                  <a:cubicBezTo>
                    <a:pt x="725487" y="2687303"/>
                    <a:pt x="725487" y="2736743"/>
                    <a:pt x="725487" y="2782886"/>
                  </a:cubicBezTo>
                  <a:cubicBezTo>
                    <a:pt x="682583" y="2759814"/>
                    <a:pt x="642979" y="2733447"/>
                    <a:pt x="600075" y="2707079"/>
                  </a:cubicBezTo>
                  <a:cubicBezTo>
                    <a:pt x="560471" y="2680711"/>
                    <a:pt x="517566" y="2654344"/>
                    <a:pt x="474662" y="2627976"/>
                  </a:cubicBezTo>
                  <a:cubicBezTo>
                    <a:pt x="474662" y="2565353"/>
                    <a:pt x="474662" y="2499434"/>
                    <a:pt x="474662" y="2436811"/>
                  </a:cubicBezTo>
                  <a:close/>
                  <a:moveTo>
                    <a:pt x="60325" y="2436811"/>
                  </a:moveTo>
                  <a:cubicBezTo>
                    <a:pt x="103229" y="2459837"/>
                    <a:pt x="142833" y="2486152"/>
                    <a:pt x="185737" y="2509178"/>
                  </a:cubicBezTo>
                  <a:cubicBezTo>
                    <a:pt x="225341" y="2532204"/>
                    <a:pt x="268246" y="2555230"/>
                    <a:pt x="311150" y="2581545"/>
                  </a:cubicBezTo>
                  <a:cubicBezTo>
                    <a:pt x="311150" y="2653912"/>
                    <a:pt x="311150" y="2729569"/>
                    <a:pt x="311150" y="2801936"/>
                  </a:cubicBezTo>
                  <a:cubicBezTo>
                    <a:pt x="268246" y="2785489"/>
                    <a:pt x="228642" y="2769042"/>
                    <a:pt x="185737" y="2752595"/>
                  </a:cubicBezTo>
                  <a:cubicBezTo>
                    <a:pt x="142833" y="2736148"/>
                    <a:pt x="103229" y="2719700"/>
                    <a:pt x="60325" y="2703253"/>
                  </a:cubicBezTo>
                  <a:cubicBezTo>
                    <a:pt x="60325" y="2614439"/>
                    <a:pt x="60325" y="2525625"/>
                    <a:pt x="60325" y="2436811"/>
                  </a:cubicBezTo>
                  <a:close/>
                  <a:moveTo>
                    <a:pt x="0" y="2400298"/>
                  </a:moveTo>
                  <a:cubicBezTo>
                    <a:pt x="10001" y="2406900"/>
                    <a:pt x="20003" y="2413503"/>
                    <a:pt x="33338" y="2420106"/>
                  </a:cubicBezTo>
                  <a:cubicBezTo>
                    <a:pt x="33338" y="2509240"/>
                    <a:pt x="33338" y="2601676"/>
                    <a:pt x="33338" y="2690811"/>
                  </a:cubicBezTo>
                  <a:cubicBezTo>
                    <a:pt x="20003" y="2687510"/>
                    <a:pt x="10001" y="2684208"/>
                    <a:pt x="0" y="2680907"/>
                  </a:cubicBezTo>
                  <a:cubicBezTo>
                    <a:pt x="0" y="2588471"/>
                    <a:pt x="0" y="2492734"/>
                    <a:pt x="0" y="2400298"/>
                  </a:cubicBezTo>
                  <a:close/>
                  <a:moveTo>
                    <a:pt x="611187" y="2328861"/>
                  </a:moveTo>
                  <a:cubicBezTo>
                    <a:pt x="667238" y="2388116"/>
                    <a:pt x="726586" y="2447372"/>
                    <a:pt x="782637" y="2506628"/>
                  </a:cubicBezTo>
                  <a:cubicBezTo>
                    <a:pt x="782637" y="2552715"/>
                    <a:pt x="782637" y="2598803"/>
                    <a:pt x="782637" y="2641599"/>
                  </a:cubicBezTo>
                  <a:cubicBezTo>
                    <a:pt x="726586" y="2592219"/>
                    <a:pt x="670535" y="2542839"/>
                    <a:pt x="614484" y="2493460"/>
                  </a:cubicBezTo>
                  <a:cubicBezTo>
                    <a:pt x="614484" y="2437496"/>
                    <a:pt x="611187" y="2381533"/>
                    <a:pt x="611187" y="2328861"/>
                  </a:cubicBezTo>
                  <a:close/>
                  <a:moveTo>
                    <a:pt x="746125" y="2295523"/>
                  </a:moveTo>
                  <a:cubicBezTo>
                    <a:pt x="756083" y="2308693"/>
                    <a:pt x="769361" y="2325156"/>
                    <a:pt x="779319" y="2338327"/>
                  </a:cubicBezTo>
                  <a:cubicBezTo>
                    <a:pt x="779319" y="2381130"/>
                    <a:pt x="779319" y="2427227"/>
                    <a:pt x="782638" y="2473323"/>
                  </a:cubicBezTo>
                  <a:cubicBezTo>
                    <a:pt x="769361" y="2460152"/>
                    <a:pt x="759402" y="2446982"/>
                    <a:pt x="749444" y="2437104"/>
                  </a:cubicBezTo>
                  <a:cubicBezTo>
                    <a:pt x="749444" y="2391008"/>
                    <a:pt x="746125" y="2341619"/>
                    <a:pt x="746125" y="2295523"/>
                  </a:cubicBezTo>
                  <a:close/>
                  <a:moveTo>
                    <a:pt x="198437" y="2212973"/>
                  </a:moveTo>
                  <a:cubicBezTo>
                    <a:pt x="241341" y="2245904"/>
                    <a:pt x="280945" y="2278835"/>
                    <a:pt x="323849" y="2311765"/>
                  </a:cubicBezTo>
                  <a:cubicBezTo>
                    <a:pt x="363453" y="2344696"/>
                    <a:pt x="406358" y="2380920"/>
                    <a:pt x="445962" y="2413851"/>
                  </a:cubicBezTo>
                  <a:cubicBezTo>
                    <a:pt x="445962" y="2479713"/>
                    <a:pt x="449262" y="2545574"/>
                    <a:pt x="449262" y="2611436"/>
                  </a:cubicBezTo>
                  <a:cubicBezTo>
                    <a:pt x="406358" y="2585091"/>
                    <a:pt x="366754" y="2558747"/>
                    <a:pt x="323849" y="2532402"/>
                  </a:cubicBezTo>
                  <a:cubicBezTo>
                    <a:pt x="280945" y="2506057"/>
                    <a:pt x="241341" y="2479713"/>
                    <a:pt x="198437" y="2453368"/>
                  </a:cubicBezTo>
                  <a:cubicBezTo>
                    <a:pt x="198437" y="2374334"/>
                    <a:pt x="198437" y="2292007"/>
                    <a:pt x="198437" y="2212973"/>
                  </a:cubicBezTo>
                  <a:close/>
                  <a:moveTo>
                    <a:pt x="0" y="2051048"/>
                  </a:moveTo>
                  <a:cubicBezTo>
                    <a:pt x="56051" y="2097208"/>
                    <a:pt x="112102" y="2143367"/>
                    <a:pt x="168153" y="2189527"/>
                  </a:cubicBezTo>
                  <a:cubicBezTo>
                    <a:pt x="168153" y="2271955"/>
                    <a:pt x="171450" y="2354383"/>
                    <a:pt x="171450" y="2436811"/>
                  </a:cubicBezTo>
                  <a:cubicBezTo>
                    <a:pt x="112102" y="2400543"/>
                    <a:pt x="56051" y="2364274"/>
                    <a:pt x="0" y="2328006"/>
                  </a:cubicBezTo>
                  <a:cubicBezTo>
                    <a:pt x="0" y="2235687"/>
                    <a:pt x="0" y="2143367"/>
                    <a:pt x="0" y="2051048"/>
                  </a:cubicBezTo>
                  <a:close/>
                  <a:moveTo>
                    <a:pt x="336550" y="2035173"/>
                  </a:moveTo>
                  <a:cubicBezTo>
                    <a:pt x="376174" y="2078011"/>
                    <a:pt x="419100" y="2124145"/>
                    <a:pt x="458724" y="2166983"/>
                  </a:cubicBezTo>
                  <a:cubicBezTo>
                    <a:pt x="501650" y="2209822"/>
                    <a:pt x="541274" y="2252660"/>
                    <a:pt x="584200" y="2298794"/>
                  </a:cubicBezTo>
                  <a:cubicBezTo>
                    <a:pt x="584200" y="2354814"/>
                    <a:pt x="584200" y="2410833"/>
                    <a:pt x="584200" y="2470148"/>
                  </a:cubicBezTo>
                  <a:cubicBezTo>
                    <a:pt x="544576" y="2433900"/>
                    <a:pt x="501650" y="2397652"/>
                    <a:pt x="458724" y="2361404"/>
                  </a:cubicBezTo>
                  <a:cubicBezTo>
                    <a:pt x="419100" y="2325156"/>
                    <a:pt x="376174" y="2288908"/>
                    <a:pt x="336550" y="2252660"/>
                  </a:cubicBezTo>
                  <a:cubicBezTo>
                    <a:pt x="336550" y="2180165"/>
                    <a:pt x="336550" y="2107669"/>
                    <a:pt x="336550" y="2035173"/>
                  </a:cubicBezTo>
                  <a:close/>
                  <a:moveTo>
                    <a:pt x="471487" y="1939923"/>
                  </a:moveTo>
                  <a:cubicBezTo>
                    <a:pt x="511111" y="1992524"/>
                    <a:pt x="554037" y="2045126"/>
                    <a:pt x="593661" y="2101015"/>
                  </a:cubicBezTo>
                  <a:cubicBezTo>
                    <a:pt x="636587" y="2153616"/>
                    <a:pt x="676211" y="2206218"/>
                    <a:pt x="719137" y="2258819"/>
                  </a:cubicBezTo>
                  <a:cubicBezTo>
                    <a:pt x="719137" y="2308133"/>
                    <a:pt x="719137" y="2357447"/>
                    <a:pt x="719137" y="2403473"/>
                  </a:cubicBezTo>
                  <a:cubicBezTo>
                    <a:pt x="679513" y="2357447"/>
                    <a:pt x="636587" y="2314708"/>
                    <a:pt x="596963" y="2268682"/>
                  </a:cubicBezTo>
                  <a:cubicBezTo>
                    <a:pt x="554037" y="2222655"/>
                    <a:pt x="514413" y="2176629"/>
                    <a:pt x="471487" y="2130603"/>
                  </a:cubicBezTo>
                  <a:cubicBezTo>
                    <a:pt x="471487" y="2068139"/>
                    <a:pt x="471487" y="2005675"/>
                    <a:pt x="471487" y="1939923"/>
                  </a:cubicBezTo>
                  <a:close/>
                  <a:moveTo>
                    <a:pt x="742950" y="1930398"/>
                  </a:moveTo>
                  <a:cubicBezTo>
                    <a:pt x="752951" y="1950105"/>
                    <a:pt x="762953" y="1969812"/>
                    <a:pt x="772954" y="1986234"/>
                  </a:cubicBezTo>
                  <a:cubicBezTo>
                    <a:pt x="772954" y="2032217"/>
                    <a:pt x="776288" y="2078200"/>
                    <a:pt x="776288" y="2120898"/>
                  </a:cubicBezTo>
                  <a:cubicBezTo>
                    <a:pt x="766287" y="2104475"/>
                    <a:pt x="752951" y="2088053"/>
                    <a:pt x="742950" y="2071631"/>
                  </a:cubicBezTo>
                  <a:cubicBezTo>
                    <a:pt x="742950" y="2025648"/>
                    <a:pt x="742950" y="1979665"/>
                    <a:pt x="742950" y="1930398"/>
                  </a:cubicBezTo>
                  <a:close/>
                  <a:moveTo>
                    <a:pt x="608012" y="1897061"/>
                  </a:moveTo>
                  <a:cubicBezTo>
                    <a:pt x="664063" y="1982707"/>
                    <a:pt x="720114" y="2071646"/>
                    <a:pt x="776165" y="2157292"/>
                  </a:cubicBezTo>
                  <a:cubicBezTo>
                    <a:pt x="776165" y="2200115"/>
                    <a:pt x="776165" y="2246232"/>
                    <a:pt x="779462" y="2292349"/>
                  </a:cubicBezTo>
                  <a:cubicBezTo>
                    <a:pt x="723411" y="2216585"/>
                    <a:pt x="664063" y="2140822"/>
                    <a:pt x="608012" y="2061764"/>
                  </a:cubicBezTo>
                  <a:cubicBezTo>
                    <a:pt x="608012" y="2009059"/>
                    <a:pt x="608012" y="1953060"/>
                    <a:pt x="608012" y="1897061"/>
                  </a:cubicBezTo>
                  <a:close/>
                  <a:moveTo>
                    <a:pt x="60325" y="1741486"/>
                  </a:moveTo>
                  <a:cubicBezTo>
                    <a:pt x="99949" y="1787599"/>
                    <a:pt x="142875" y="1830418"/>
                    <a:pt x="182499" y="1873238"/>
                  </a:cubicBezTo>
                  <a:cubicBezTo>
                    <a:pt x="225425" y="1916057"/>
                    <a:pt x="268351" y="1962170"/>
                    <a:pt x="307975" y="2004990"/>
                  </a:cubicBezTo>
                  <a:cubicBezTo>
                    <a:pt x="307975" y="2077453"/>
                    <a:pt x="307975" y="2153210"/>
                    <a:pt x="307975" y="2225674"/>
                  </a:cubicBezTo>
                  <a:cubicBezTo>
                    <a:pt x="268351" y="2189442"/>
                    <a:pt x="225425" y="2153210"/>
                    <a:pt x="185801" y="2116979"/>
                  </a:cubicBezTo>
                  <a:cubicBezTo>
                    <a:pt x="142875" y="2080747"/>
                    <a:pt x="103251" y="2047809"/>
                    <a:pt x="60325" y="2011577"/>
                  </a:cubicBezTo>
                  <a:cubicBezTo>
                    <a:pt x="60325" y="1922645"/>
                    <a:pt x="60325" y="1833712"/>
                    <a:pt x="60325" y="1741486"/>
                  </a:cubicBezTo>
                  <a:close/>
                  <a:moveTo>
                    <a:pt x="0" y="1679573"/>
                  </a:moveTo>
                  <a:cubicBezTo>
                    <a:pt x="10054" y="1692751"/>
                    <a:pt x="20109" y="1702634"/>
                    <a:pt x="30163" y="1712518"/>
                  </a:cubicBezTo>
                  <a:cubicBezTo>
                    <a:pt x="30163" y="1804764"/>
                    <a:pt x="30163" y="1897010"/>
                    <a:pt x="30163" y="1985961"/>
                  </a:cubicBezTo>
                  <a:cubicBezTo>
                    <a:pt x="20109" y="1976077"/>
                    <a:pt x="10054" y="1969488"/>
                    <a:pt x="0" y="1959605"/>
                  </a:cubicBezTo>
                  <a:cubicBezTo>
                    <a:pt x="0" y="1864065"/>
                    <a:pt x="0" y="1771819"/>
                    <a:pt x="0" y="1679573"/>
                  </a:cubicBezTo>
                  <a:close/>
                  <a:moveTo>
                    <a:pt x="736600" y="1624012"/>
                  </a:moveTo>
                  <a:cubicBezTo>
                    <a:pt x="746125" y="1646977"/>
                    <a:pt x="755650" y="1669943"/>
                    <a:pt x="768350" y="1689628"/>
                  </a:cubicBezTo>
                  <a:cubicBezTo>
                    <a:pt x="768350" y="1719155"/>
                    <a:pt x="768350" y="1745402"/>
                    <a:pt x="768350" y="1771649"/>
                  </a:cubicBezTo>
                  <a:cubicBezTo>
                    <a:pt x="758825" y="1748683"/>
                    <a:pt x="749300" y="1728998"/>
                    <a:pt x="736600" y="1706032"/>
                  </a:cubicBezTo>
                  <a:cubicBezTo>
                    <a:pt x="736600" y="1679785"/>
                    <a:pt x="736600" y="1650258"/>
                    <a:pt x="736600" y="1624012"/>
                  </a:cubicBezTo>
                  <a:close/>
                  <a:moveTo>
                    <a:pt x="198437" y="1584324"/>
                  </a:moveTo>
                  <a:cubicBezTo>
                    <a:pt x="238061" y="1640189"/>
                    <a:pt x="277685" y="1692769"/>
                    <a:pt x="320611" y="1745348"/>
                  </a:cubicBezTo>
                  <a:cubicBezTo>
                    <a:pt x="360235" y="1797928"/>
                    <a:pt x="403161" y="1850507"/>
                    <a:pt x="442785" y="1903087"/>
                  </a:cubicBezTo>
                  <a:cubicBezTo>
                    <a:pt x="442785" y="1968812"/>
                    <a:pt x="446087" y="2034536"/>
                    <a:pt x="446087" y="2100261"/>
                  </a:cubicBezTo>
                  <a:cubicBezTo>
                    <a:pt x="403161" y="2054254"/>
                    <a:pt x="363537" y="2008247"/>
                    <a:pt x="320611" y="1962239"/>
                  </a:cubicBezTo>
                  <a:cubicBezTo>
                    <a:pt x="280987" y="1916232"/>
                    <a:pt x="238061" y="1873511"/>
                    <a:pt x="198437" y="1827504"/>
                  </a:cubicBezTo>
                  <a:cubicBezTo>
                    <a:pt x="198437" y="1745348"/>
                    <a:pt x="198437" y="1666479"/>
                    <a:pt x="198437" y="1584324"/>
                  </a:cubicBezTo>
                  <a:close/>
                  <a:moveTo>
                    <a:pt x="333375" y="1474788"/>
                  </a:moveTo>
                  <a:cubicBezTo>
                    <a:pt x="372999" y="1537461"/>
                    <a:pt x="415925" y="1600133"/>
                    <a:pt x="455549" y="1662805"/>
                  </a:cubicBezTo>
                  <a:cubicBezTo>
                    <a:pt x="495173" y="1725478"/>
                    <a:pt x="538099" y="1791450"/>
                    <a:pt x="577723" y="1854123"/>
                  </a:cubicBezTo>
                  <a:cubicBezTo>
                    <a:pt x="581025" y="1910199"/>
                    <a:pt x="581025" y="1966274"/>
                    <a:pt x="581025" y="2025649"/>
                  </a:cubicBezTo>
                  <a:cubicBezTo>
                    <a:pt x="538099" y="1969573"/>
                    <a:pt x="498475" y="1913497"/>
                    <a:pt x="455549" y="1857421"/>
                  </a:cubicBezTo>
                  <a:cubicBezTo>
                    <a:pt x="415925" y="1801345"/>
                    <a:pt x="376301" y="1745270"/>
                    <a:pt x="333375" y="1689194"/>
                  </a:cubicBezTo>
                  <a:cubicBezTo>
                    <a:pt x="333375" y="1616625"/>
                    <a:pt x="333375" y="1544058"/>
                    <a:pt x="333375" y="1474788"/>
                  </a:cubicBezTo>
                  <a:close/>
                  <a:moveTo>
                    <a:pt x="600075" y="1465265"/>
                  </a:moveTo>
                  <a:cubicBezTo>
                    <a:pt x="656126" y="1580631"/>
                    <a:pt x="712177" y="1692704"/>
                    <a:pt x="768228" y="1808073"/>
                  </a:cubicBezTo>
                  <a:cubicBezTo>
                    <a:pt x="768228" y="1850925"/>
                    <a:pt x="771525" y="1897072"/>
                    <a:pt x="771525" y="1939924"/>
                  </a:cubicBezTo>
                  <a:cubicBezTo>
                    <a:pt x="715474" y="1837740"/>
                    <a:pt x="659423" y="1735555"/>
                    <a:pt x="603372" y="1630075"/>
                  </a:cubicBezTo>
                  <a:cubicBezTo>
                    <a:pt x="603372" y="1577335"/>
                    <a:pt x="603372" y="1521300"/>
                    <a:pt x="600075" y="1465265"/>
                  </a:cubicBezTo>
                  <a:close/>
                  <a:moveTo>
                    <a:pt x="468312" y="1446213"/>
                  </a:moveTo>
                  <a:cubicBezTo>
                    <a:pt x="507936" y="1518643"/>
                    <a:pt x="550862" y="1591071"/>
                    <a:pt x="590486" y="1663500"/>
                  </a:cubicBezTo>
                  <a:cubicBezTo>
                    <a:pt x="630110" y="1735930"/>
                    <a:pt x="673036" y="1808360"/>
                    <a:pt x="712660" y="1880789"/>
                  </a:cubicBezTo>
                  <a:cubicBezTo>
                    <a:pt x="712660" y="1930173"/>
                    <a:pt x="712660" y="1979557"/>
                    <a:pt x="715962" y="2025649"/>
                  </a:cubicBezTo>
                  <a:cubicBezTo>
                    <a:pt x="673036" y="1963096"/>
                    <a:pt x="633412" y="1897251"/>
                    <a:pt x="590486" y="1831406"/>
                  </a:cubicBezTo>
                  <a:cubicBezTo>
                    <a:pt x="550862" y="1765560"/>
                    <a:pt x="511238" y="1699715"/>
                    <a:pt x="468312" y="1637162"/>
                  </a:cubicBezTo>
                  <a:cubicBezTo>
                    <a:pt x="468312" y="1571318"/>
                    <a:pt x="468312" y="1508766"/>
                    <a:pt x="468312" y="1446213"/>
                  </a:cubicBezTo>
                  <a:close/>
                  <a:moveTo>
                    <a:pt x="0" y="1330325"/>
                  </a:moveTo>
                  <a:cubicBezTo>
                    <a:pt x="56092" y="1402900"/>
                    <a:pt x="112183" y="1475475"/>
                    <a:pt x="168275" y="1548048"/>
                  </a:cubicBezTo>
                  <a:cubicBezTo>
                    <a:pt x="168275" y="1630519"/>
                    <a:pt x="168275" y="1712990"/>
                    <a:pt x="168275" y="1795461"/>
                  </a:cubicBezTo>
                  <a:cubicBezTo>
                    <a:pt x="112183" y="1732783"/>
                    <a:pt x="56092" y="1670105"/>
                    <a:pt x="0" y="1607427"/>
                  </a:cubicBezTo>
                  <a:cubicBezTo>
                    <a:pt x="0" y="1515060"/>
                    <a:pt x="0" y="1422693"/>
                    <a:pt x="0" y="1330325"/>
                  </a:cubicBezTo>
                  <a:close/>
                  <a:moveTo>
                    <a:pt x="60325" y="1050923"/>
                  </a:moveTo>
                  <a:cubicBezTo>
                    <a:pt x="99949" y="1113391"/>
                    <a:pt x="142875" y="1179147"/>
                    <a:pt x="182499" y="1241615"/>
                  </a:cubicBezTo>
                  <a:cubicBezTo>
                    <a:pt x="222123" y="1304083"/>
                    <a:pt x="265049" y="1366550"/>
                    <a:pt x="304673" y="1429019"/>
                  </a:cubicBezTo>
                  <a:cubicBezTo>
                    <a:pt x="304673" y="1504638"/>
                    <a:pt x="307975" y="1576968"/>
                    <a:pt x="307975" y="1652586"/>
                  </a:cubicBezTo>
                  <a:cubicBezTo>
                    <a:pt x="265049" y="1596695"/>
                    <a:pt x="225425" y="1540803"/>
                    <a:pt x="182499" y="1484912"/>
                  </a:cubicBezTo>
                  <a:cubicBezTo>
                    <a:pt x="142875" y="1429019"/>
                    <a:pt x="99949" y="1373126"/>
                    <a:pt x="60325" y="1317235"/>
                  </a:cubicBezTo>
                  <a:cubicBezTo>
                    <a:pt x="60325" y="1228464"/>
                    <a:pt x="60325" y="1139694"/>
                    <a:pt x="60325" y="1050923"/>
                  </a:cubicBezTo>
                  <a:close/>
                  <a:moveTo>
                    <a:pt x="465137" y="1023938"/>
                  </a:moveTo>
                  <a:cubicBezTo>
                    <a:pt x="504782" y="1112836"/>
                    <a:pt x="544426" y="1205030"/>
                    <a:pt x="587375" y="1293931"/>
                  </a:cubicBezTo>
                  <a:cubicBezTo>
                    <a:pt x="627019" y="1382830"/>
                    <a:pt x="666664" y="1471732"/>
                    <a:pt x="709612" y="1560630"/>
                  </a:cubicBezTo>
                  <a:cubicBezTo>
                    <a:pt x="709612" y="1590263"/>
                    <a:pt x="709612" y="1619896"/>
                    <a:pt x="709612" y="1646236"/>
                  </a:cubicBezTo>
                  <a:cubicBezTo>
                    <a:pt x="669967" y="1563923"/>
                    <a:pt x="627019" y="1478318"/>
                    <a:pt x="587375" y="1392709"/>
                  </a:cubicBezTo>
                  <a:cubicBezTo>
                    <a:pt x="547730" y="1307102"/>
                    <a:pt x="504782" y="1224786"/>
                    <a:pt x="465137" y="1139177"/>
                  </a:cubicBezTo>
                  <a:cubicBezTo>
                    <a:pt x="465137" y="1102959"/>
                    <a:pt x="465137" y="1063448"/>
                    <a:pt x="465137" y="1023938"/>
                  </a:cubicBezTo>
                  <a:close/>
                  <a:moveTo>
                    <a:pt x="195262" y="958849"/>
                  </a:moveTo>
                  <a:cubicBezTo>
                    <a:pt x="234886" y="1031246"/>
                    <a:pt x="277812" y="1103642"/>
                    <a:pt x="317436" y="1176039"/>
                  </a:cubicBezTo>
                  <a:cubicBezTo>
                    <a:pt x="360362" y="1248436"/>
                    <a:pt x="399986" y="1320833"/>
                    <a:pt x="439610" y="1393230"/>
                  </a:cubicBezTo>
                  <a:cubicBezTo>
                    <a:pt x="439610" y="1459046"/>
                    <a:pt x="442912" y="1524861"/>
                    <a:pt x="442912" y="1590674"/>
                  </a:cubicBezTo>
                  <a:cubicBezTo>
                    <a:pt x="399986" y="1524861"/>
                    <a:pt x="360362" y="1459046"/>
                    <a:pt x="317436" y="1396520"/>
                  </a:cubicBezTo>
                  <a:cubicBezTo>
                    <a:pt x="277812" y="1330705"/>
                    <a:pt x="238188" y="1264890"/>
                    <a:pt x="195262" y="1199074"/>
                  </a:cubicBezTo>
                  <a:cubicBezTo>
                    <a:pt x="195262" y="1120095"/>
                    <a:pt x="195262" y="1037827"/>
                    <a:pt x="195262" y="958849"/>
                  </a:cubicBezTo>
                  <a:close/>
                  <a:moveTo>
                    <a:pt x="0" y="958849"/>
                  </a:moveTo>
                  <a:cubicBezTo>
                    <a:pt x="10054" y="975291"/>
                    <a:pt x="20109" y="991733"/>
                    <a:pt x="30163" y="1008175"/>
                  </a:cubicBezTo>
                  <a:cubicBezTo>
                    <a:pt x="30163" y="1100250"/>
                    <a:pt x="30163" y="1189037"/>
                    <a:pt x="30163" y="1281113"/>
                  </a:cubicBezTo>
                  <a:cubicBezTo>
                    <a:pt x="20109" y="1264671"/>
                    <a:pt x="10054" y="1251517"/>
                    <a:pt x="0" y="1238363"/>
                  </a:cubicBezTo>
                  <a:cubicBezTo>
                    <a:pt x="0" y="1146287"/>
                    <a:pt x="0" y="1050923"/>
                    <a:pt x="0" y="958849"/>
                  </a:cubicBezTo>
                  <a:close/>
                  <a:moveTo>
                    <a:pt x="330200" y="912813"/>
                  </a:moveTo>
                  <a:cubicBezTo>
                    <a:pt x="369824" y="995120"/>
                    <a:pt x="412750" y="1077426"/>
                    <a:pt x="452374" y="1159735"/>
                  </a:cubicBezTo>
                  <a:cubicBezTo>
                    <a:pt x="491998" y="1242043"/>
                    <a:pt x="534924" y="1327644"/>
                    <a:pt x="574548" y="1409951"/>
                  </a:cubicBezTo>
                  <a:cubicBezTo>
                    <a:pt x="574548" y="1465921"/>
                    <a:pt x="574548" y="1525182"/>
                    <a:pt x="577850" y="1581150"/>
                  </a:cubicBezTo>
                  <a:cubicBezTo>
                    <a:pt x="534924" y="1505429"/>
                    <a:pt x="495300" y="1429706"/>
                    <a:pt x="452374" y="1353982"/>
                  </a:cubicBezTo>
                  <a:cubicBezTo>
                    <a:pt x="412750" y="1278259"/>
                    <a:pt x="373126" y="1202535"/>
                    <a:pt x="330200" y="1130104"/>
                  </a:cubicBezTo>
                  <a:cubicBezTo>
                    <a:pt x="330200" y="1057674"/>
                    <a:pt x="330200" y="985243"/>
                    <a:pt x="330200" y="912813"/>
                  </a:cubicBezTo>
                  <a:close/>
                  <a:moveTo>
                    <a:pt x="0" y="609600"/>
                  </a:moveTo>
                  <a:cubicBezTo>
                    <a:pt x="56092" y="708293"/>
                    <a:pt x="112183" y="810275"/>
                    <a:pt x="168275" y="908968"/>
                  </a:cubicBezTo>
                  <a:cubicBezTo>
                    <a:pt x="168275" y="991212"/>
                    <a:pt x="168275" y="1073455"/>
                    <a:pt x="168275" y="1155699"/>
                  </a:cubicBezTo>
                  <a:cubicBezTo>
                    <a:pt x="112183" y="1066875"/>
                    <a:pt x="56092" y="974763"/>
                    <a:pt x="0" y="885939"/>
                  </a:cubicBezTo>
                  <a:cubicBezTo>
                    <a:pt x="0" y="793826"/>
                    <a:pt x="0" y="701713"/>
                    <a:pt x="0" y="609600"/>
                  </a:cubicBezTo>
                  <a:close/>
                  <a:moveTo>
                    <a:pt x="195262" y="428625"/>
                  </a:moveTo>
                  <a:cubicBezTo>
                    <a:pt x="234907" y="517380"/>
                    <a:pt x="274551" y="606136"/>
                    <a:pt x="317499" y="694892"/>
                  </a:cubicBezTo>
                  <a:cubicBezTo>
                    <a:pt x="357144" y="783648"/>
                    <a:pt x="396789" y="875691"/>
                    <a:pt x="436433" y="964446"/>
                  </a:cubicBezTo>
                  <a:cubicBezTo>
                    <a:pt x="439737" y="1003893"/>
                    <a:pt x="439737" y="1040052"/>
                    <a:pt x="439737" y="1079498"/>
                  </a:cubicBezTo>
                  <a:cubicBezTo>
                    <a:pt x="396789" y="997318"/>
                    <a:pt x="357144" y="911850"/>
                    <a:pt x="317499" y="826382"/>
                  </a:cubicBezTo>
                  <a:cubicBezTo>
                    <a:pt x="274551" y="740914"/>
                    <a:pt x="234907" y="658732"/>
                    <a:pt x="195262" y="573264"/>
                  </a:cubicBezTo>
                  <a:cubicBezTo>
                    <a:pt x="195262" y="523955"/>
                    <a:pt x="195262" y="477933"/>
                    <a:pt x="195262" y="428625"/>
                  </a:cubicBezTo>
                  <a:close/>
                  <a:moveTo>
                    <a:pt x="60325" y="358774"/>
                  </a:moveTo>
                  <a:cubicBezTo>
                    <a:pt x="99712" y="441062"/>
                    <a:pt x="139099" y="523350"/>
                    <a:pt x="181769" y="605638"/>
                  </a:cubicBezTo>
                  <a:cubicBezTo>
                    <a:pt x="221156" y="687926"/>
                    <a:pt x="260543" y="773506"/>
                    <a:pt x="303213" y="855793"/>
                  </a:cubicBezTo>
                  <a:cubicBezTo>
                    <a:pt x="303213" y="928207"/>
                    <a:pt x="303213" y="1003911"/>
                    <a:pt x="303213" y="1076323"/>
                  </a:cubicBezTo>
                  <a:cubicBezTo>
                    <a:pt x="263826" y="1000620"/>
                    <a:pt x="221156" y="924915"/>
                    <a:pt x="181769" y="849210"/>
                  </a:cubicBezTo>
                  <a:cubicBezTo>
                    <a:pt x="139099" y="776797"/>
                    <a:pt x="99712" y="701092"/>
                    <a:pt x="60325" y="625387"/>
                  </a:cubicBezTo>
                  <a:cubicBezTo>
                    <a:pt x="60325" y="536516"/>
                    <a:pt x="60325" y="447645"/>
                    <a:pt x="60325" y="358774"/>
                  </a:cubicBezTo>
                  <a:close/>
                  <a:moveTo>
                    <a:pt x="0" y="236538"/>
                  </a:moveTo>
                  <a:cubicBezTo>
                    <a:pt x="10054" y="259634"/>
                    <a:pt x="20109" y="279431"/>
                    <a:pt x="30163" y="302528"/>
                  </a:cubicBezTo>
                  <a:cubicBezTo>
                    <a:pt x="30163" y="391614"/>
                    <a:pt x="30163" y="484001"/>
                    <a:pt x="30163" y="573088"/>
                  </a:cubicBezTo>
                  <a:cubicBezTo>
                    <a:pt x="20109" y="553291"/>
                    <a:pt x="10054" y="536793"/>
                    <a:pt x="0" y="516996"/>
                  </a:cubicBezTo>
                  <a:cubicBezTo>
                    <a:pt x="0" y="424610"/>
                    <a:pt x="0" y="328924"/>
                    <a:pt x="0" y="236538"/>
                  </a:cubicBezTo>
                  <a:close/>
                  <a:moveTo>
                    <a:pt x="0" y="0"/>
                  </a:moveTo>
                  <a:cubicBezTo>
                    <a:pt x="56134" y="121993"/>
                    <a:pt x="108966" y="243986"/>
                    <a:pt x="165100" y="369277"/>
                  </a:cubicBezTo>
                  <a:cubicBezTo>
                    <a:pt x="165100" y="415436"/>
                    <a:pt x="165100" y="464893"/>
                    <a:pt x="165100" y="514350"/>
                  </a:cubicBezTo>
                  <a:cubicBezTo>
                    <a:pt x="112268" y="398951"/>
                    <a:pt x="56134" y="283552"/>
                    <a:pt x="0" y="164856"/>
                  </a:cubicBezTo>
                  <a:cubicBezTo>
                    <a:pt x="0" y="112102"/>
                    <a:pt x="0" y="56051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/>
            <p:cNvSpPr/>
            <p:nvPr/>
          </p:nvSpPr>
          <p:spPr bwMode="auto">
            <a:xfrm>
              <a:off x="6190334" y="1133473"/>
              <a:ext cx="2414238" cy="2410740"/>
            </a:xfrm>
            <a:custGeom>
              <a:avLst/>
              <a:gdLst>
                <a:gd name="T0" fmla="*/ 0 w 998"/>
                <a:gd name="T1" fmla="*/ 0 h 998"/>
                <a:gd name="T2" fmla="*/ 998 w 998"/>
                <a:gd name="T3" fmla="*/ 0 h 998"/>
                <a:gd name="T4" fmla="*/ 998 w 998"/>
                <a:gd name="T5" fmla="*/ 998 h 998"/>
                <a:gd name="T6" fmla="*/ 241 w 998"/>
                <a:gd name="T7" fmla="*/ 998 h 998"/>
                <a:gd name="T8" fmla="*/ 0 w 998"/>
                <a:gd name="T9" fmla="*/ 757 h 998"/>
                <a:gd name="T10" fmla="*/ 0 w 998"/>
                <a:gd name="T11" fmla="*/ 0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8" h="998">
                  <a:moveTo>
                    <a:pt x="0" y="0"/>
                  </a:moveTo>
                  <a:cubicBezTo>
                    <a:pt x="998" y="0"/>
                    <a:pt x="998" y="0"/>
                    <a:pt x="998" y="0"/>
                  </a:cubicBezTo>
                  <a:cubicBezTo>
                    <a:pt x="998" y="998"/>
                    <a:pt x="998" y="998"/>
                    <a:pt x="998" y="998"/>
                  </a:cubicBezTo>
                  <a:cubicBezTo>
                    <a:pt x="241" y="998"/>
                    <a:pt x="241" y="998"/>
                    <a:pt x="241" y="998"/>
                  </a:cubicBezTo>
                  <a:cubicBezTo>
                    <a:pt x="224" y="873"/>
                    <a:pt x="125" y="774"/>
                    <a:pt x="0" y="75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/>
            <p:cNvSpPr/>
            <p:nvPr/>
          </p:nvSpPr>
          <p:spPr bwMode="auto">
            <a:xfrm>
              <a:off x="6410446" y="1355914"/>
              <a:ext cx="1971686" cy="1968187"/>
            </a:xfrm>
            <a:custGeom>
              <a:avLst/>
              <a:gdLst>
                <a:gd name="T0" fmla="*/ 0 w 815"/>
                <a:gd name="T1" fmla="*/ 0 h 815"/>
                <a:gd name="T2" fmla="*/ 815 w 815"/>
                <a:gd name="T3" fmla="*/ 0 h 815"/>
                <a:gd name="T4" fmla="*/ 815 w 815"/>
                <a:gd name="T5" fmla="*/ 815 h 815"/>
                <a:gd name="T6" fmla="*/ 404 w 815"/>
                <a:gd name="T7" fmla="*/ 815 h 815"/>
                <a:gd name="T8" fmla="*/ 0 w 815"/>
                <a:gd name="T9" fmla="*/ 411 h 815"/>
                <a:gd name="T10" fmla="*/ 0 w 815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" h="815">
                  <a:moveTo>
                    <a:pt x="0" y="0"/>
                  </a:moveTo>
                  <a:cubicBezTo>
                    <a:pt x="815" y="0"/>
                    <a:pt x="815" y="0"/>
                    <a:pt x="815" y="0"/>
                  </a:cubicBezTo>
                  <a:cubicBezTo>
                    <a:pt x="815" y="815"/>
                    <a:pt x="815" y="815"/>
                    <a:pt x="815" y="815"/>
                  </a:cubicBezTo>
                  <a:cubicBezTo>
                    <a:pt x="404" y="815"/>
                    <a:pt x="404" y="815"/>
                    <a:pt x="404" y="815"/>
                  </a:cubicBezTo>
                  <a:cubicBezTo>
                    <a:pt x="356" y="616"/>
                    <a:pt x="199" y="459"/>
                    <a:pt x="0" y="4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/>
            <p:cNvSpPr/>
            <p:nvPr/>
          </p:nvSpPr>
          <p:spPr bwMode="auto">
            <a:xfrm>
              <a:off x="3003960" y="3732879"/>
              <a:ext cx="583470" cy="2410740"/>
            </a:xfrm>
            <a:custGeom>
              <a:avLst/>
              <a:gdLst>
                <a:gd name="T0" fmla="*/ 0 w 501"/>
                <a:gd name="T1" fmla="*/ 967 h 2070"/>
                <a:gd name="T2" fmla="*/ 501 w 501"/>
                <a:gd name="T3" fmla="*/ 2070 h 2070"/>
                <a:gd name="T4" fmla="*/ 501 w 501"/>
                <a:gd name="T5" fmla="*/ 0 h 2070"/>
                <a:gd name="T6" fmla="*/ 0 w 501"/>
                <a:gd name="T7" fmla="*/ 0 h 2070"/>
                <a:gd name="T8" fmla="*/ 0 w 501"/>
                <a:gd name="T9" fmla="*/ 967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1" h="2070">
                  <a:moveTo>
                    <a:pt x="0" y="967"/>
                  </a:moveTo>
                  <a:lnTo>
                    <a:pt x="501" y="2070"/>
                  </a:lnTo>
                  <a:lnTo>
                    <a:pt x="501" y="0"/>
                  </a:lnTo>
                  <a:lnTo>
                    <a:pt x="0" y="0"/>
                  </a:lnTo>
                  <a:lnTo>
                    <a:pt x="0" y="9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/>
            <p:cNvSpPr/>
            <p:nvPr/>
          </p:nvSpPr>
          <p:spPr bwMode="auto">
            <a:xfrm>
              <a:off x="3003959" y="3732879"/>
              <a:ext cx="583470" cy="2410740"/>
            </a:xfrm>
            <a:custGeom>
              <a:avLst/>
              <a:gdLst>
                <a:gd name="connsiteX0" fmla="*/ 627063 w 795338"/>
                <a:gd name="connsiteY0" fmla="*/ 2773363 h 3286126"/>
                <a:gd name="connsiteX1" fmla="*/ 795338 w 795338"/>
                <a:gd name="connsiteY1" fmla="*/ 3121779 h 3286126"/>
                <a:gd name="connsiteX2" fmla="*/ 795338 w 795338"/>
                <a:gd name="connsiteY2" fmla="*/ 3286126 h 3286126"/>
                <a:gd name="connsiteX3" fmla="*/ 627063 w 795338"/>
                <a:gd name="connsiteY3" fmla="*/ 2921276 h 3286126"/>
                <a:gd name="connsiteX4" fmla="*/ 627063 w 795338"/>
                <a:gd name="connsiteY4" fmla="*/ 2773363 h 3286126"/>
                <a:gd name="connsiteX5" fmla="*/ 762000 w 795338"/>
                <a:gd name="connsiteY5" fmla="*/ 2713038 h 3286126"/>
                <a:gd name="connsiteX6" fmla="*/ 795338 w 795338"/>
                <a:gd name="connsiteY6" fmla="*/ 2772429 h 3286126"/>
                <a:gd name="connsiteX7" fmla="*/ 795338 w 795338"/>
                <a:gd name="connsiteY7" fmla="*/ 3049588 h 3286126"/>
                <a:gd name="connsiteX8" fmla="*/ 762000 w 795338"/>
                <a:gd name="connsiteY8" fmla="*/ 2986898 h 3286126"/>
                <a:gd name="connsiteX9" fmla="*/ 762000 w 795338"/>
                <a:gd name="connsiteY9" fmla="*/ 2713038 h 3286126"/>
                <a:gd name="connsiteX10" fmla="*/ 492125 w 795338"/>
                <a:gd name="connsiteY10" fmla="*/ 2209800 h 3286126"/>
                <a:gd name="connsiteX11" fmla="*/ 613569 w 795338"/>
                <a:gd name="connsiteY11" fmla="*/ 2436915 h 3286126"/>
                <a:gd name="connsiteX12" fmla="*/ 735013 w 795338"/>
                <a:gd name="connsiteY12" fmla="*/ 2660738 h 3286126"/>
                <a:gd name="connsiteX13" fmla="*/ 735013 w 795338"/>
                <a:gd name="connsiteY13" fmla="*/ 2927350 h 3286126"/>
                <a:gd name="connsiteX14" fmla="*/ 613569 w 795338"/>
                <a:gd name="connsiteY14" fmla="*/ 2680487 h 3286126"/>
                <a:gd name="connsiteX15" fmla="*/ 492125 w 795338"/>
                <a:gd name="connsiteY15" fmla="*/ 2433623 h 3286126"/>
                <a:gd name="connsiteX16" fmla="*/ 492125 w 795338"/>
                <a:gd name="connsiteY16" fmla="*/ 2209800 h 3286126"/>
                <a:gd name="connsiteX17" fmla="*/ 355600 w 795338"/>
                <a:gd name="connsiteY17" fmla="*/ 2206625 h 3286126"/>
                <a:gd name="connsiteX18" fmla="*/ 477838 w 795338"/>
                <a:gd name="connsiteY18" fmla="*/ 2459743 h 3286126"/>
                <a:gd name="connsiteX19" fmla="*/ 600075 w 795338"/>
                <a:gd name="connsiteY19" fmla="*/ 2712861 h 3286126"/>
                <a:gd name="connsiteX20" fmla="*/ 600075 w 795338"/>
                <a:gd name="connsiteY20" fmla="*/ 2857500 h 3286126"/>
                <a:gd name="connsiteX21" fmla="*/ 477838 w 795338"/>
                <a:gd name="connsiteY21" fmla="*/ 2591233 h 3286126"/>
                <a:gd name="connsiteX22" fmla="*/ 355600 w 795338"/>
                <a:gd name="connsiteY22" fmla="*/ 2324966 h 3286126"/>
                <a:gd name="connsiteX23" fmla="*/ 355600 w 795338"/>
                <a:gd name="connsiteY23" fmla="*/ 2206625 h 3286126"/>
                <a:gd name="connsiteX24" fmla="*/ 627063 w 795338"/>
                <a:gd name="connsiteY24" fmla="*/ 2133600 h 3286126"/>
                <a:gd name="connsiteX25" fmla="*/ 795338 w 795338"/>
                <a:gd name="connsiteY25" fmla="*/ 2400127 h 3286126"/>
                <a:gd name="connsiteX26" fmla="*/ 795338 w 795338"/>
                <a:gd name="connsiteY26" fmla="*/ 2676525 h 3286126"/>
                <a:gd name="connsiteX27" fmla="*/ 627063 w 795338"/>
                <a:gd name="connsiteY27" fmla="*/ 2380384 h 3286126"/>
                <a:gd name="connsiteX28" fmla="*/ 627063 w 795338"/>
                <a:gd name="connsiteY28" fmla="*/ 2133600 h 3286126"/>
                <a:gd name="connsiteX29" fmla="*/ 762000 w 795338"/>
                <a:gd name="connsiteY29" fmla="*/ 2008188 h 3286126"/>
                <a:gd name="connsiteX30" fmla="*/ 795338 w 795338"/>
                <a:gd name="connsiteY30" fmla="*/ 2051165 h 3286126"/>
                <a:gd name="connsiteX31" fmla="*/ 795338 w 795338"/>
                <a:gd name="connsiteY31" fmla="*/ 2328863 h 3286126"/>
                <a:gd name="connsiteX32" fmla="*/ 762000 w 795338"/>
                <a:gd name="connsiteY32" fmla="*/ 2279274 h 3286126"/>
                <a:gd name="connsiteX33" fmla="*/ 762000 w 795338"/>
                <a:gd name="connsiteY33" fmla="*/ 2008188 h 3286126"/>
                <a:gd name="connsiteX34" fmla="*/ 217488 w 795338"/>
                <a:gd name="connsiteY34" fmla="*/ 1709738 h 3286126"/>
                <a:gd name="connsiteX35" fmla="*/ 339662 w 795338"/>
                <a:gd name="connsiteY35" fmla="*/ 1933654 h 3286126"/>
                <a:gd name="connsiteX36" fmla="*/ 461836 w 795338"/>
                <a:gd name="connsiteY36" fmla="*/ 2160864 h 3286126"/>
                <a:gd name="connsiteX37" fmla="*/ 465138 w 795338"/>
                <a:gd name="connsiteY37" fmla="*/ 2374901 h 3286126"/>
                <a:gd name="connsiteX38" fmla="*/ 342964 w 795338"/>
                <a:gd name="connsiteY38" fmla="*/ 2127935 h 3286126"/>
                <a:gd name="connsiteX39" fmla="*/ 220790 w 795338"/>
                <a:gd name="connsiteY39" fmla="*/ 1877675 h 3286126"/>
                <a:gd name="connsiteX40" fmla="*/ 217488 w 795338"/>
                <a:gd name="connsiteY40" fmla="*/ 1709738 h 3286126"/>
                <a:gd name="connsiteX41" fmla="*/ 352425 w 795338"/>
                <a:gd name="connsiteY41" fmla="*/ 1695450 h 3286126"/>
                <a:gd name="connsiteX42" fmla="*/ 474599 w 795338"/>
                <a:gd name="connsiteY42" fmla="*/ 1893392 h 3286126"/>
                <a:gd name="connsiteX43" fmla="*/ 596773 w 795338"/>
                <a:gd name="connsiteY43" fmla="*/ 2088034 h 3286126"/>
                <a:gd name="connsiteX44" fmla="*/ 600075 w 795338"/>
                <a:gd name="connsiteY44" fmla="*/ 2328863 h 3286126"/>
                <a:gd name="connsiteX45" fmla="*/ 474599 w 795338"/>
                <a:gd name="connsiteY45" fmla="*/ 2111128 h 3286126"/>
                <a:gd name="connsiteX46" fmla="*/ 352425 w 795338"/>
                <a:gd name="connsiteY46" fmla="*/ 1893392 h 3286126"/>
                <a:gd name="connsiteX47" fmla="*/ 352425 w 795338"/>
                <a:gd name="connsiteY47" fmla="*/ 1695450 h 3286126"/>
                <a:gd name="connsiteX48" fmla="*/ 85725 w 795338"/>
                <a:gd name="connsiteY48" fmla="*/ 1639888 h 3286126"/>
                <a:gd name="connsiteX49" fmla="*/ 207963 w 795338"/>
                <a:gd name="connsiteY49" fmla="*/ 1893418 h 3286126"/>
                <a:gd name="connsiteX50" fmla="*/ 330200 w 795338"/>
                <a:gd name="connsiteY50" fmla="*/ 2146947 h 3286126"/>
                <a:gd name="connsiteX51" fmla="*/ 330200 w 795338"/>
                <a:gd name="connsiteY51" fmla="*/ 2262188 h 3286126"/>
                <a:gd name="connsiteX52" fmla="*/ 207963 w 795338"/>
                <a:gd name="connsiteY52" fmla="*/ 1995488 h 3286126"/>
                <a:gd name="connsiteX53" fmla="*/ 85725 w 795338"/>
                <a:gd name="connsiteY53" fmla="*/ 1725496 h 3286126"/>
                <a:gd name="connsiteX54" fmla="*/ 85725 w 795338"/>
                <a:gd name="connsiteY54" fmla="*/ 1639888 h 3286126"/>
                <a:gd name="connsiteX55" fmla="*/ 487363 w 795338"/>
                <a:gd name="connsiteY55" fmla="*/ 1636713 h 3286126"/>
                <a:gd name="connsiteX56" fmla="*/ 609537 w 795338"/>
                <a:gd name="connsiteY56" fmla="*/ 1801133 h 3286126"/>
                <a:gd name="connsiteX57" fmla="*/ 735013 w 795338"/>
                <a:gd name="connsiteY57" fmla="*/ 1968841 h 3286126"/>
                <a:gd name="connsiteX58" fmla="*/ 735013 w 795338"/>
                <a:gd name="connsiteY58" fmla="*/ 2235201 h 3286126"/>
                <a:gd name="connsiteX59" fmla="*/ 612839 w 795338"/>
                <a:gd name="connsiteY59" fmla="*/ 2047763 h 3286126"/>
                <a:gd name="connsiteX60" fmla="*/ 487363 w 795338"/>
                <a:gd name="connsiteY60" fmla="*/ 1857036 h 3286126"/>
                <a:gd name="connsiteX61" fmla="*/ 487363 w 795338"/>
                <a:gd name="connsiteY61" fmla="*/ 1636713 h 3286126"/>
                <a:gd name="connsiteX62" fmla="*/ 26988 w 795338"/>
                <a:gd name="connsiteY62" fmla="*/ 1514475 h 3286126"/>
                <a:gd name="connsiteX63" fmla="*/ 55563 w 795338"/>
                <a:gd name="connsiteY63" fmla="*/ 1580736 h 3286126"/>
                <a:gd name="connsiteX64" fmla="*/ 58738 w 795338"/>
                <a:gd name="connsiteY64" fmla="*/ 1666875 h 3286126"/>
                <a:gd name="connsiteX65" fmla="*/ 26988 w 795338"/>
                <a:gd name="connsiteY65" fmla="*/ 1597301 h 3286126"/>
                <a:gd name="connsiteX66" fmla="*/ 26988 w 795338"/>
                <a:gd name="connsiteY66" fmla="*/ 1514475 h 3286126"/>
                <a:gd name="connsiteX67" fmla="*/ 627063 w 795338"/>
                <a:gd name="connsiteY67" fmla="*/ 1492250 h 3286126"/>
                <a:gd name="connsiteX68" fmla="*/ 795338 w 795338"/>
                <a:gd name="connsiteY68" fmla="*/ 1679643 h 3286126"/>
                <a:gd name="connsiteX69" fmla="*/ 795338 w 795338"/>
                <a:gd name="connsiteY69" fmla="*/ 1955800 h 3286126"/>
                <a:gd name="connsiteX70" fmla="*/ 627063 w 795338"/>
                <a:gd name="connsiteY70" fmla="*/ 1738819 h 3286126"/>
                <a:gd name="connsiteX71" fmla="*/ 627063 w 795338"/>
                <a:gd name="connsiteY71" fmla="*/ 1492250 h 3286126"/>
                <a:gd name="connsiteX72" fmla="*/ 23813 w 795338"/>
                <a:gd name="connsiteY72" fmla="*/ 1346200 h 3286126"/>
                <a:gd name="connsiteX73" fmla="*/ 190501 w 795338"/>
                <a:gd name="connsiteY73" fmla="*/ 1656050 h 3286126"/>
                <a:gd name="connsiteX74" fmla="*/ 190501 w 795338"/>
                <a:gd name="connsiteY74" fmla="*/ 1820863 h 3286126"/>
                <a:gd name="connsiteX75" fmla="*/ 27081 w 795338"/>
                <a:gd name="connsiteY75" fmla="*/ 1481347 h 3286126"/>
                <a:gd name="connsiteX76" fmla="*/ 23813 w 795338"/>
                <a:gd name="connsiteY76" fmla="*/ 1346200 h 3286126"/>
                <a:gd name="connsiteX77" fmla="*/ 762000 w 795338"/>
                <a:gd name="connsiteY77" fmla="*/ 1300163 h 3286126"/>
                <a:gd name="connsiteX78" fmla="*/ 795338 w 795338"/>
                <a:gd name="connsiteY78" fmla="*/ 1329814 h 3286126"/>
                <a:gd name="connsiteX79" fmla="*/ 795338 w 795338"/>
                <a:gd name="connsiteY79" fmla="*/ 1606551 h 3286126"/>
                <a:gd name="connsiteX80" fmla="*/ 762000 w 795338"/>
                <a:gd name="connsiteY80" fmla="*/ 1573606 h 3286126"/>
                <a:gd name="connsiteX81" fmla="*/ 762000 w 795338"/>
                <a:gd name="connsiteY81" fmla="*/ 1300163 h 3286126"/>
                <a:gd name="connsiteX82" fmla="*/ 214313 w 795338"/>
                <a:gd name="connsiteY82" fmla="*/ 1265238 h 3286126"/>
                <a:gd name="connsiteX83" fmla="*/ 336487 w 795338"/>
                <a:gd name="connsiteY83" fmla="*/ 1429692 h 3286126"/>
                <a:gd name="connsiteX84" fmla="*/ 461963 w 795338"/>
                <a:gd name="connsiteY84" fmla="*/ 1597434 h 3286126"/>
                <a:gd name="connsiteX85" fmla="*/ 461963 w 795338"/>
                <a:gd name="connsiteY85" fmla="*/ 1814513 h 3286126"/>
                <a:gd name="connsiteX86" fmla="*/ 339789 w 795338"/>
                <a:gd name="connsiteY86" fmla="*/ 1623747 h 3286126"/>
                <a:gd name="connsiteX87" fmla="*/ 214313 w 795338"/>
                <a:gd name="connsiteY87" fmla="*/ 1436270 h 3286126"/>
                <a:gd name="connsiteX88" fmla="*/ 214313 w 795338"/>
                <a:gd name="connsiteY88" fmla="*/ 1265238 h 3286126"/>
                <a:gd name="connsiteX89" fmla="*/ 79375 w 795338"/>
                <a:gd name="connsiteY89" fmla="*/ 1260475 h 3286126"/>
                <a:gd name="connsiteX90" fmla="*/ 201549 w 795338"/>
                <a:gd name="connsiteY90" fmla="*/ 1455209 h 3286126"/>
                <a:gd name="connsiteX91" fmla="*/ 323723 w 795338"/>
                <a:gd name="connsiteY91" fmla="*/ 1653242 h 3286126"/>
                <a:gd name="connsiteX92" fmla="*/ 327025 w 795338"/>
                <a:gd name="connsiteY92" fmla="*/ 1844675 h 3286126"/>
                <a:gd name="connsiteX93" fmla="*/ 204851 w 795338"/>
                <a:gd name="connsiteY93" fmla="*/ 1626838 h 3286126"/>
                <a:gd name="connsiteX94" fmla="*/ 82677 w 795338"/>
                <a:gd name="connsiteY94" fmla="*/ 1405700 h 3286126"/>
                <a:gd name="connsiteX95" fmla="*/ 79375 w 795338"/>
                <a:gd name="connsiteY95" fmla="*/ 1260475 h 3286126"/>
                <a:gd name="connsiteX96" fmla="*/ 349250 w 795338"/>
                <a:gd name="connsiteY96" fmla="*/ 1189038 h 3286126"/>
                <a:gd name="connsiteX97" fmla="*/ 471424 w 795338"/>
                <a:gd name="connsiteY97" fmla="*/ 1323803 h 3286126"/>
                <a:gd name="connsiteX98" fmla="*/ 596900 w 795338"/>
                <a:gd name="connsiteY98" fmla="*/ 1461854 h 3286126"/>
                <a:gd name="connsiteX99" fmla="*/ 596900 w 795338"/>
                <a:gd name="connsiteY99" fmla="*/ 1701801 h 3286126"/>
                <a:gd name="connsiteX100" fmla="*/ 474726 w 795338"/>
                <a:gd name="connsiteY100" fmla="*/ 1544028 h 3286126"/>
                <a:gd name="connsiteX101" fmla="*/ 349250 w 795338"/>
                <a:gd name="connsiteY101" fmla="*/ 1382968 h 3286126"/>
                <a:gd name="connsiteX102" fmla="*/ 349250 w 795338"/>
                <a:gd name="connsiteY102" fmla="*/ 1189038 h 3286126"/>
                <a:gd name="connsiteX103" fmla="*/ 19050 w 795338"/>
                <a:gd name="connsiteY103" fmla="*/ 1165225 h 3286126"/>
                <a:gd name="connsiteX104" fmla="*/ 49054 w 795338"/>
                <a:gd name="connsiteY104" fmla="*/ 1214903 h 3286126"/>
                <a:gd name="connsiteX105" fmla="*/ 52388 w 795338"/>
                <a:gd name="connsiteY105" fmla="*/ 1357313 h 3286126"/>
                <a:gd name="connsiteX106" fmla="*/ 22384 w 795338"/>
                <a:gd name="connsiteY106" fmla="*/ 1301012 h 3286126"/>
                <a:gd name="connsiteX107" fmla="*/ 19050 w 795338"/>
                <a:gd name="connsiteY107" fmla="*/ 1165225 h 3286126"/>
                <a:gd name="connsiteX108" fmla="*/ 484188 w 795338"/>
                <a:gd name="connsiteY108" fmla="*/ 1060450 h 3286126"/>
                <a:gd name="connsiteX109" fmla="*/ 609601 w 795338"/>
                <a:gd name="connsiteY109" fmla="*/ 1169146 h 3286126"/>
                <a:gd name="connsiteX110" fmla="*/ 735013 w 795338"/>
                <a:gd name="connsiteY110" fmla="*/ 1277841 h 3286126"/>
                <a:gd name="connsiteX111" fmla="*/ 735013 w 795338"/>
                <a:gd name="connsiteY111" fmla="*/ 1544638 h 3286126"/>
                <a:gd name="connsiteX112" fmla="*/ 609601 w 795338"/>
                <a:gd name="connsiteY112" fmla="*/ 1412886 h 3286126"/>
                <a:gd name="connsiteX113" fmla="*/ 487488 w 795338"/>
                <a:gd name="connsiteY113" fmla="*/ 1281135 h 3286126"/>
                <a:gd name="connsiteX114" fmla="*/ 484188 w 795338"/>
                <a:gd name="connsiteY114" fmla="*/ 1060450 h 3286126"/>
                <a:gd name="connsiteX115" fmla="*/ 15875 w 795338"/>
                <a:gd name="connsiteY115" fmla="*/ 993775 h 3286126"/>
                <a:gd name="connsiteX116" fmla="*/ 184028 w 795338"/>
                <a:gd name="connsiteY116" fmla="*/ 1224360 h 3286126"/>
                <a:gd name="connsiteX117" fmla="*/ 187325 w 795338"/>
                <a:gd name="connsiteY117" fmla="*/ 1389063 h 3286126"/>
                <a:gd name="connsiteX118" fmla="*/ 19172 w 795338"/>
                <a:gd name="connsiteY118" fmla="*/ 1132126 h 3286126"/>
                <a:gd name="connsiteX119" fmla="*/ 15875 w 795338"/>
                <a:gd name="connsiteY119" fmla="*/ 993775 h 3286126"/>
                <a:gd name="connsiteX120" fmla="*/ 73025 w 795338"/>
                <a:gd name="connsiteY120" fmla="*/ 882650 h 3286126"/>
                <a:gd name="connsiteX121" fmla="*/ 198438 w 795338"/>
                <a:gd name="connsiteY121" fmla="*/ 1020729 h 3286126"/>
                <a:gd name="connsiteX122" fmla="*/ 320550 w 795338"/>
                <a:gd name="connsiteY122" fmla="*/ 1155520 h 3286126"/>
                <a:gd name="connsiteX123" fmla="*/ 323850 w 795338"/>
                <a:gd name="connsiteY123" fmla="*/ 1346200 h 3286126"/>
                <a:gd name="connsiteX124" fmla="*/ 198438 w 795338"/>
                <a:gd name="connsiteY124" fmla="*/ 1188396 h 3286126"/>
                <a:gd name="connsiteX125" fmla="*/ 76325 w 795338"/>
                <a:gd name="connsiteY125" fmla="*/ 1027304 h 3286126"/>
                <a:gd name="connsiteX126" fmla="*/ 73025 w 795338"/>
                <a:gd name="connsiteY126" fmla="*/ 882650 h 3286126"/>
                <a:gd name="connsiteX127" fmla="*/ 623888 w 795338"/>
                <a:gd name="connsiteY127" fmla="*/ 849313 h 3286126"/>
                <a:gd name="connsiteX128" fmla="*/ 795338 w 795338"/>
                <a:gd name="connsiteY128" fmla="*/ 958084 h 3286126"/>
                <a:gd name="connsiteX129" fmla="*/ 795338 w 795338"/>
                <a:gd name="connsiteY129" fmla="*/ 1238251 h 3286126"/>
                <a:gd name="connsiteX130" fmla="*/ 623888 w 795338"/>
                <a:gd name="connsiteY130" fmla="*/ 1099816 h 3286126"/>
                <a:gd name="connsiteX131" fmla="*/ 623888 w 795338"/>
                <a:gd name="connsiteY131" fmla="*/ 849313 h 3286126"/>
                <a:gd name="connsiteX132" fmla="*/ 211138 w 795338"/>
                <a:gd name="connsiteY132" fmla="*/ 820738 h 3286126"/>
                <a:gd name="connsiteX133" fmla="*/ 333312 w 795338"/>
                <a:gd name="connsiteY133" fmla="*/ 929113 h 3286126"/>
                <a:gd name="connsiteX134" fmla="*/ 458788 w 795338"/>
                <a:gd name="connsiteY134" fmla="*/ 1034203 h 3286126"/>
                <a:gd name="connsiteX135" fmla="*/ 458788 w 795338"/>
                <a:gd name="connsiteY135" fmla="*/ 1250951 h 3286126"/>
                <a:gd name="connsiteX136" fmla="*/ 336614 w 795338"/>
                <a:gd name="connsiteY136" fmla="*/ 1122873 h 3286126"/>
                <a:gd name="connsiteX137" fmla="*/ 211138 w 795338"/>
                <a:gd name="connsiteY137" fmla="*/ 991510 h 3286126"/>
                <a:gd name="connsiteX138" fmla="*/ 211138 w 795338"/>
                <a:gd name="connsiteY138" fmla="*/ 820738 h 3286126"/>
                <a:gd name="connsiteX139" fmla="*/ 12700 w 795338"/>
                <a:gd name="connsiteY139" fmla="*/ 815975 h 3286126"/>
                <a:gd name="connsiteX140" fmla="*/ 46038 w 795338"/>
                <a:gd name="connsiteY140" fmla="*/ 848923 h 3286126"/>
                <a:gd name="connsiteX141" fmla="*/ 46038 w 795338"/>
                <a:gd name="connsiteY141" fmla="*/ 990600 h 3286126"/>
                <a:gd name="connsiteX142" fmla="*/ 16034 w 795338"/>
                <a:gd name="connsiteY142" fmla="*/ 951063 h 3286126"/>
                <a:gd name="connsiteX143" fmla="*/ 12700 w 795338"/>
                <a:gd name="connsiteY143" fmla="*/ 815975 h 3286126"/>
                <a:gd name="connsiteX144" fmla="*/ 346075 w 795338"/>
                <a:gd name="connsiteY144" fmla="*/ 677863 h 3286126"/>
                <a:gd name="connsiteX145" fmla="*/ 471488 w 795338"/>
                <a:gd name="connsiteY145" fmla="*/ 753604 h 3286126"/>
                <a:gd name="connsiteX146" fmla="*/ 593600 w 795338"/>
                <a:gd name="connsiteY146" fmla="*/ 832638 h 3286126"/>
                <a:gd name="connsiteX147" fmla="*/ 596900 w 795338"/>
                <a:gd name="connsiteY147" fmla="*/ 1076326 h 3286126"/>
                <a:gd name="connsiteX148" fmla="*/ 471488 w 795338"/>
                <a:gd name="connsiteY148" fmla="*/ 974241 h 3286126"/>
                <a:gd name="connsiteX149" fmla="*/ 346075 w 795338"/>
                <a:gd name="connsiteY149" fmla="*/ 872155 h 3286126"/>
                <a:gd name="connsiteX150" fmla="*/ 346075 w 795338"/>
                <a:gd name="connsiteY150" fmla="*/ 677863 h 3286126"/>
                <a:gd name="connsiteX151" fmla="*/ 9525 w 795338"/>
                <a:gd name="connsiteY151" fmla="*/ 646113 h 3286126"/>
                <a:gd name="connsiteX152" fmla="*/ 180975 w 795338"/>
                <a:gd name="connsiteY152" fmla="*/ 794197 h 3286126"/>
                <a:gd name="connsiteX153" fmla="*/ 180975 w 795338"/>
                <a:gd name="connsiteY153" fmla="*/ 962026 h 3286126"/>
                <a:gd name="connsiteX154" fmla="*/ 12822 w 795338"/>
                <a:gd name="connsiteY154" fmla="*/ 781034 h 3286126"/>
                <a:gd name="connsiteX155" fmla="*/ 9525 w 795338"/>
                <a:gd name="connsiteY155" fmla="*/ 646113 h 3286126"/>
                <a:gd name="connsiteX156" fmla="*/ 762000 w 795338"/>
                <a:gd name="connsiteY156" fmla="*/ 595313 h 3286126"/>
                <a:gd name="connsiteX157" fmla="*/ 795338 w 795338"/>
                <a:gd name="connsiteY157" fmla="*/ 608518 h 3286126"/>
                <a:gd name="connsiteX158" fmla="*/ 795338 w 795338"/>
                <a:gd name="connsiteY158" fmla="*/ 885826 h 3286126"/>
                <a:gd name="connsiteX159" fmla="*/ 762000 w 795338"/>
                <a:gd name="connsiteY159" fmla="*/ 866019 h 3286126"/>
                <a:gd name="connsiteX160" fmla="*/ 762000 w 795338"/>
                <a:gd name="connsiteY160" fmla="*/ 595313 h 3286126"/>
                <a:gd name="connsiteX161" fmla="*/ 69850 w 795338"/>
                <a:gd name="connsiteY161" fmla="*/ 503238 h 3286126"/>
                <a:gd name="connsiteX162" fmla="*/ 195263 w 795338"/>
                <a:gd name="connsiteY162" fmla="*/ 582341 h 3286126"/>
                <a:gd name="connsiteX163" fmla="*/ 317375 w 795338"/>
                <a:gd name="connsiteY163" fmla="*/ 658148 h 3286126"/>
                <a:gd name="connsiteX164" fmla="*/ 320675 w 795338"/>
                <a:gd name="connsiteY164" fmla="*/ 849313 h 3286126"/>
                <a:gd name="connsiteX165" fmla="*/ 195263 w 795338"/>
                <a:gd name="connsiteY165" fmla="*/ 750435 h 3286126"/>
                <a:gd name="connsiteX166" fmla="*/ 69850 w 795338"/>
                <a:gd name="connsiteY166" fmla="*/ 648260 h 3286126"/>
                <a:gd name="connsiteX167" fmla="*/ 69850 w 795338"/>
                <a:gd name="connsiteY167" fmla="*/ 503238 h 3286126"/>
                <a:gd name="connsiteX168" fmla="*/ 484188 w 795338"/>
                <a:gd name="connsiteY168" fmla="*/ 484188 h 3286126"/>
                <a:gd name="connsiteX169" fmla="*/ 609601 w 795338"/>
                <a:gd name="connsiteY169" fmla="*/ 533529 h 3286126"/>
                <a:gd name="connsiteX170" fmla="*/ 731713 w 795338"/>
                <a:gd name="connsiteY170" fmla="*/ 582871 h 3286126"/>
                <a:gd name="connsiteX171" fmla="*/ 735013 w 795338"/>
                <a:gd name="connsiteY171" fmla="*/ 849313 h 3286126"/>
                <a:gd name="connsiteX172" fmla="*/ 609601 w 795338"/>
                <a:gd name="connsiteY172" fmla="*/ 780236 h 3286126"/>
                <a:gd name="connsiteX173" fmla="*/ 484188 w 795338"/>
                <a:gd name="connsiteY173" fmla="*/ 707868 h 3286126"/>
                <a:gd name="connsiteX174" fmla="*/ 484188 w 795338"/>
                <a:gd name="connsiteY174" fmla="*/ 484188 h 3286126"/>
                <a:gd name="connsiteX175" fmla="*/ 6350 w 795338"/>
                <a:gd name="connsiteY175" fmla="*/ 463550 h 3286126"/>
                <a:gd name="connsiteX176" fmla="*/ 39544 w 795338"/>
                <a:gd name="connsiteY176" fmla="*/ 486682 h 3286126"/>
                <a:gd name="connsiteX177" fmla="*/ 42863 w 795338"/>
                <a:gd name="connsiteY177" fmla="*/ 625475 h 3286126"/>
                <a:gd name="connsiteX178" fmla="*/ 9669 w 795338"/>
                <a:gd name="connsiteY178" fmla="*/ 599038 h 3286126"/>
                <a:gd name="connsiteX179" fmla="*/ 6350 w 795338"/>
                <a:gd name="connsiteY179" fmla="*/ 463550 h 3286126"/>
                <a:gd name="connsiteX180" fmla="*/ 204788 w 795338"/>
                <a:gd name="connsiteY180" fmla="*/ 374650 h 3286126"/>
                <a:gd name="connsiteX181" fmla="*/ 330201 w 795338"/>
                <a:gd name="connsiteY181" fmla="*/ 424260 h 3286126"/>
                <a:gd name="connsiteX182" fmla="*/ 455613 w 795338"/>
                <a:gd name="connsiteY182" fmla="*/ 473869 h 3286126"/>
                <a:gd name="connsiteX183" fmla="*/ 455613 w 795338"/>
                <a:gd name="connsiteY183" fmla="*/ 692150 h 3286126"/>
                <a:gd name="connsiteX184" fmla="*/ 333501 w 795338"/>
                <a:gd name="connsiteY184" fmla="*/ 619390 h 3286126"/>
                <a:gd name="connsiteX185" fmla="*/ 208088 w 795338"/>
                <a:gd name="connsiteY185" fmla="*/ 546629 h 3286126"/>
                <a:gd name="connsiteX186" fmla="*/ 204788 w 795338"/>
                <a:gd name="connsiteY186" fmla="*/ 374650 h 3286126"/>
                <a:gd name="connsiteX187" fmla="*/ 6350 w 795338"/>
                <a:gd name="connsiteY187" fmla="*/ 296863 h 3286126"/>
                <a:gd name="connsiteX188" fmla="*/ 177800 w 795338"/>
                <a:gd name="connsiteY188" fmla="*/ 362599 h 3286126"/>
                <a:gd name="connsiteX189" fmla="*/ 177800 w 795338"/>
                <a:gd name="connsiteY189" fmla="*/ 530226 h 3286126"/>
                <a:gd name="connsiteX190" fmla="*/ 6350 w 795338"/>
                <a:gd name="connsiteY190" fmla="*/ 431622 h 3286126"/>
                <a:gd name="connsiteX191" fmla="*/ 6350 w 795338"/>
                <a:gd name="connsiteY191" fmla="*/ 296863 h 3286126"/>
                <a:gd name="connsiteX192" fmla="*/ 623888 w 795338"/>
                <a:gd name="connsiteY192" fmla="*/ 211138 h 3286126"/>
                <a:gd name="connsiteX193" fmla="*/ 795338 w 795338"/>
                <a:gd name="connsiteY193" fmla="*/ 237504 h 3286126"/>
                <a:gd name="connsiteX194" fmla="*/ 795338 w 795338"/>
                <a:gd name="connsiteY194" fmla="*/ 514351 h 3286126"/>
                <a:gd name="connsiteX195" fmla="*/ 623888 w 795338"/>
                <a:gd name="connsiteY195" fmla="*/ 458323 h 3286126"/>
                <a:gd name="connsiteX196" fmla="*/ 623888 w 795338"/>
                <a:gd name="connsiteY196" fmla="*/ 211138 h 3286126"/>
                <a:gd name="connsiteX197" fmla="*/ 342900 w 795338"/>
                <a:gd name="connsiteY197" fmla="*/ 168275 h 3286126"/>
                <a:gd name="connsiteX198" fmla="*/ 468313 w 795338"/>
                <a:gd name="connsiteY198" fmla="*/ 187997 h 3286126"/>
                <a:gd name="connsiteX199" fmla="*/ 593725 w 795338"/>
                <a:gd name="connsiteY199" fmla="*/ 207720 h 3286126"/>
                <a:gd name="connsiteX200" fmla="*/ 593725 w 795338"/>
                <a:gd name="connsiteY200" fmla="*/ 447675 h 3286126"/>
                <a:gd name="connsiteX201" fmla="*/ 468313 w 795338"/>
                <a:gd name="connsiteY201" fmla="*/ 404943 h 3286126"/>
                <a:gd name="connsiteX202" fmla="*/ 342900 w 795338"/>
                <a:gd name="connsiteY202" fmla="*/ 365499 h 3286126"/>
                <a:gd name="connsiteX203" fmla="*/ 342900 w 795338"/>
                <a:gd name="connsiteY203" fmla="*/ 168275 h 3286126"/>
                <a:gd name="connsiteX204" fmla="*/ 61913 w 795338"/>
                <a:gd name="connsiteY204" fmla="*/ 125413 h 3286126"/>
                <a:gd name="connsiteX205" fmla="*/ 187264 w 795338"/>
                <a:gd name="connsiteY205" fmla="*/ 145144 h 3286126"/>
                <a:gd name="connsiteX206" fmla="*/ 312614 w 795338"/>
                <a:gd name="connsiteY206" fmla="*/ 164874 h 3286126"/>
                <a:gd name="connsiteX207" fmla="*/ 315913 w 795338"/>
                <a:gd name="connsiteY207" fmla="*/ 355601 h 3286126"/>
                <a:gd name="connsiteX208" fmla="*/ 190562 w 795338"/>
                <a:gd name="connsiteY208" fmla="*/ 312852 h 3286126"/>
                <a:gd name="connsiteX209" fmla="*/ 65212 w 795338"/>
                <a:gd name="connsiteY209" fmla="*/ 270103 h 3286126"/>
                <a:gd name="connsiteX210" fmla="*/ 61913 w 795338"/>
                <a:gd name="connsiteY210" fmla="*/ 125413 h 3286126"/>
                <a:gd name="connsiteX211" fmla="*/ 3175 w 795338"/>
                <a:gd name="connsiteY211" fmla="*/ 115888 h 3286126"/>
                <a:gd name="connsiteX212" fmla="*/ 33179 w 795338"/>
                <a:gd name="connsiteY212" fmla="*/ 122455 h 3286126"/>
                <a:gd name="connsiteX213" fmla="*/ 36513 w 795338"/>
                <a:gd name="connsiteY213" fmla="*/ 260351 h 3286126"/>
                <a:gd name="connsiteX214" fmla="*/ 3175 w 795338"/>
                <a:gd name="connsiteY214" fmla="*/ 250501 h 3286126"/>
                <a:gd name="connsiteX215" fmla="*/ 3175 w 795338"/>
                <a:gd name="connsiteY215" fmla="*/ 115888 h 3286126"/>
                <a:gd name="connsiteX216" fmla="*/ 762000 w 795338"/>
                <a:gd name="connsiteY216" fmla="*/ 0 h 3286126"/>
                <a:gd name="connsiteX217" fmla="*/ 795338 w 795338"/>
                <a:gd name="connsiteY217" fmla="*/ 0 h 3286126"/>
                <a:gd name="connsiteX218" fmla="*/ 795338 w 795338"/>
                <a:gd name="connsiteY218" fmla="*/ 165100 h 3286126"/>
                <a:gd name="connsiteX219" fmla="*/ 762000 w 795338"/>
                <a:gd name="connsiteY219" fmla="*/ 161798 h 3286126"/>
                <a:gd name="connsiteX220" fmla="*/ 762000 w 795338"/>
                <a:gd name="connsiteY220" fmla="*/ 0 h 3286126"/>
                <a:gd name="connsiteX221" fmla="*/ 481013 w 795338"/>
                <a:gd name="connsiteY221" fmla="*/ 0 h 3286126"/>
                <a:gd name="connsiteX222" fmla="*/ 606426 w 795338"/>
                <a:gd name="connsiteY222" fmla="*/ 0 h 3286126"/>
                <a:gd name="connsiteX223" fmla="*/ 731838 w 795338"/>
                <a:gd name="connsiteY223" fmla="*/ 0 h 3286126"/>
                <a:gd name="connsiteX224" fmla="*/ 731838 w 795338"/>
                <a:gd name="connsiteY224" fmla="*/ 158750 h 3286126"/>
                <a:gd name="connsiteX225" fmla="*/ 606426 w 795338"/>
                <a:gd name="connsiteY225" fmla="*/ 145521 h 3286126"/>
                <a:gd name="connsiteX226" fmla="*/ 481013 w 795338"/>
                <a:gd name="connsiteY226" fmla="*/ 132292 h 3286126"/>
                <a:gd name="connsiteX227" fmla="*/ 481013 w 795338"/>
                <a:gd name="connsiteY227" fmla="*/ 0 h 3286126"/>
                <a:gd name="connsiteX228" fmla="*/ 201613 w 795338"/>
                <a:gd name="connsiteY228" fmla="*/ 0 h 3286126"/>
                <a:gd name="connsiteX229" fmla="*/ 326964 w 795338"/>
                <a:gd name="connsiteY229" fmla="*/ 0 h 3286126"/>
                <a:gd name="connsiteX230" fmla="*/ 452314 w 795338"/>
                <a:gd name="connsiteY230" fmla="*/ 0 h 3286126"/>
                <a:gd name="connsiteX231" fmla="*/ 455613 w 795338"/>
                <a:gd name="connsiteY231" fmla="*/ 128588 h 3286126"/>
                <a:gd name="connsiteX232" fmla="*/ 330262 w 795338"/>
                <a:gd name="connsiteY232" fmla="*/ 115400 h 3286126"/>
                <a:gd name="connsiteX233" fmla="*/ 201613 w 795338"/>
                <a:gd name="connsiteY233" fmla="*/ 102211 h 3286126"/>
                <a:gd name="connsiteX234" fmla="*/ 201613 w 795338"/>
                <a:gd name="connsiteY234" fmla="*/ 0 h 3286126"/>
                <a:gd name="connsiteX235" fmla="*/ 0 w 795338"/>
                <a:gd name="connsiteY235" fmla="*/ 0 h 3286126"/>
                <a:gd name="connsiteX236" fmla="*/ 171330 w 795338"/>
                <a:gd name="connsiteY236" fmla="*/ 0 h 3286126"/>
                <a:gd name="connsiteX237" fmla="*/ 174625 w 795338"/>
                <a:gd name="connsiteY237" fmla="*/ 98425 h 3286126"/>
                <a:gd name="connsiteX238" fmla="*/ 0 w 795338"/>
                <a:gd name="connsiteY238" fmla="*/ 78740 h 3286126"/>
                <a:gd name="connsiteX239" fmla="*/ 0 w 795338"/>
                <a:gd name="connsiteY239" fmla="*/ 0 h 328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795338" h="3286126">
                  <a:moveTo>
                    <a:pt x="627063" y="2773363"/>
                  </a:moveTo>
                  <a:cubicBezTo>
                    <a:pt x="683155" y="2888406"/>
                    <a:pt x="739246" y="3006736"/>
                    <a:pt x="795338" y="3121779"/>
                  </a:cubicBezTo>
                  <a:cubicBezTo>
                    <a:pt x="795338" y="3177657"/>
                    <a:pt x="795338" y="3230248"/>
                    <a:pt x="795338" y="3286126"/>
                  </a:cubicBezTo>
                  <a:cubicBezTo>
                    <a:pt x="739246" y="3164509"/>
                    <a:pt x="683155" y="3042893"/>
                    <a:pt x="627063" y="2921276"/>
                  </a:cubicBezTo>
                  <a:cubicBezTo>
                    <a:pt x="627063" y="2871972"/>
                    <a:pt x="627063" y="2822667"/>
                    <a:pt x="627063" y="2773363"/>
                  </a:cubicBezTo>
                  <a:close/>
                  <a:moveTo>
                    <a:pt x="762000" y="2713038"/>
                  </a:moveTo>
                  <a:cubicBezTo>
                    <a:pt x="775335" y="2732835"/>
                    <a:pt x="785337" y="2752632"/>
                    <a:pt x="795338" y="2772429"/>
                  </a:cubicBezTo>
                  <a:cubicBezTo>
                    <a:pt x="795338" y="2864816"/>
                    <a:pt x="795338" y="2957202"/>
                    <a:pt x="795338" y="3049588"/>
                  </a:cubicBezTo>
                  <a:cubicBezTo>
                    <a:pt x="785337" y="3029791"/>
                    <a:pt x="775335" y="3006695"/>
                    <a:pt x="762000" y="2986898"/>
                  </a:cubicBezTo>
                  <a:cubicBezTo>
                    <a:pt x="762000" y="2894511"/>
                    <a:pt x="762000" y="2802125"/>
                    <a:pt x="762000" y="2713038"/>
                  </a:cubicBezTo>
                  <a:close/>
                  <a:moveTo>
                    <a:pt x="492125" y="2209800"/>
                  </a:moveTo>
                  <a:cubicBezTo>
                    <a:pt x="531512" y="2285505"/>
                    <a:pt x="574182" y="2361210"/>
                    <a:pt x="613569" y="2436915"/>
                  </a:cubicBezTo>
                  <a:cubicBezTo>
                    <a:pt x="652956" y="2512620"/>
                    <a:pt x="695626" y="2588324"/>
                    <a:pt x="735013" y="2660738"/>
                  </a:cubicBezTo>
                  <a:cubicBezTo>
                    <a:pt x="735013" y="2749608"/>
                    <a:pt x="735013" y="2838479"/>
                    <a:pt x="735013" y="2927350"/>
                  </a:cubicBezTo>
                  <a:cubicBezTo>
                    <a:pt x="695626" y="2845062"/>
                    <a:pt x="652956" y="2762775"/>
                    <a:pt x="613569" y="2680487"/>
                  </a:cubicBezTo>
                  <a:cubicBezTo>
                    <a:pt x="574182" y="2598199"/>
                    <a:pt x="531512" y="2515911"/>
                    <a:pt x="492125" y="2433623"/>
                  </a:cubicBezTo>
                  <a:cubicBezTo>
                    <a:pt x="492125" y="2357918"/>
                    <a:pt x="492125" y="2285505"/>
                    <a:pt x="492125" y="2209800"/>
                  </a:cubicBezTo>
                  <a:close/>
                  <a:moveTo>
                    <a:pt x="355600" y="2206625"/>
                  </a:moveTo>
                  <a:cubicBezTo>
                    <a:pt x="395245" y="2292094"/>
                    <a:pt x="438193" y="2377562"/>
                    <a:pt x="477838" y="2459743"/>
                  </a:cubicBezTo>
                  <a:cubicBezTo>
                    <a:pt x="517482" y="2545212"/>
                    <a:pt x="560431" y="2630680"/>
                    <a:pt x="600075" y="2712861"/>
                  </a:cubicBezTo>
                  <a:cubicBezTo>
                    <a:pt x="600075" y="2762170"/>
                    <a:pt x="600075" y="2808192"/>
                    <a:pt x="600075" y="2857500"/>
                  </a:cubicBezTo>
                  <a:cubicBezTo>
                    <a:pt x="560431" y="2768745"/>
                    <a:pt x="517482" y="2679989"/>
                    <a:pt x="477838" y="2591233"/>
                  </a:cubicBezTo>
                  <a:cubicBezTo>
                    <a:pt x="438193" y="2502478"/>
                    <a:pt x="398548" y="2413722"/>
                    <a:pt x="355600" y="2324966"/>
                  </a:cubicBezTo>
                  <a:cubicBezTo>
                    <a:pt x="355600" y="2285519"/>
                    <a:pt x="355600" y="2246072"/>
                    <a:pt x="355600" y="2206625"/>
                  </a:cubicBezTo>
                  <a:close/>
                  <a:moveTo>
                    <a:pt x="627063" y="2133600"/>
                  </a:moveTo>
                  <a:cubicBezTo>
                    <a:pt x="683155" y="2222443"/>
                    <a:pt x="739246" y="2311285"/>
                    <a:pt x="795338" y="2400127"/>
                  </a:cubicBezTo>
                  <a:cubicBezTo>
                    <a:pt x="795338" y="2492260"/>
                    <a:pt x="795338" y="2584393"/>
                    <a:pt x="795338" y="2676525"/>
                  </a:cubicBezTo>
                  <a:cubicBezTo>
                    <a:pt x="739246" y="2577812"/>
                    <a:pt x="683155" y="2479098"/>
                    <a:pt x="627063" y="2380384"/>
                  </a:cubicBezTo>
                  <a:cubicBezTo>
                    <a:pt x="627063" y="2298123"/>
                    <a:pt x="627063" y="2215862"/>
                    <a:pt x="627063" y="2133600"/>
                  </a:cubicBezTo>
                  <a:close/>
                  <a:moveTo>
                    <a:pt x="762000" y="2008188"/>
                  </a:moveTo>
                  <a:cubicBezTo>
                    <a:pt x="772002" y="2021412"/>
                    <a:pt x="785337" y="2034636"/>
                    <a:pt x="795338" y="2051165"/>
                  </a:cubicBezTo>
                  <a:cubicBezTo>
                    <a:pt x="795338" y="2143731"/>
                    <a:pt x="795338" y="2236297"/>
                    <a:pt x="795338" y="2328863"/>
                  </a:cubicBezTo>
                  <a:cubicBezTo>
                    <a:pt x="785337" y="2312334"/>
                    <a:pt x="775335" y="2295804"/>
                    <a:pt x="762000" y="2279274"/>
                  </a:cubicBezTo>
                  <a:cubicBezTo>
                    <a:pt x="762000" y="2190014"/>
                    <a:pt x="762000" y="2097448"/>
                    <a:pt x="762000" y="2008188"/>
                  </a:cubicBezTo>
                  <a:close/>
                  <a:moveTo>
                    <a:pt x="217488" y="1709738"/>
                  </a:moveTo>
                  <a:cubicBezTo>
                    <a:pt x="260414" y="1782182"/>
                    <a:pt x="300038" y="1857918"/>
                    <a:pt x="339662" y="1933654"/>
                  </a:cubicBezTo>
                  <a:cubicBezTo>
                    <a:pt x="382588" y="2009391"/>
                    <a:pt x="422212" y="2085127"/>
                    <a:pt x="461836" y="2160864"/>
                  </a:cubicBezTo>
                  <a:cubicBezTo>
                    <a:pt x="461836" y="2233307"/>
                    <a:pt x="461836" y="2302458"/>
                    <a:pt x="465138" y="2374901"/>
                  </a:cubicBezTo>
                  <a:cubicBezTo>
                    <a:pt x="422212" y="2292579"/>
                    <a:pt x="382588" y="2210257"/>
                    <a:pt x="342964" y="2127935"/>
                  </a:cubicBezTo>
                  <a:cubicBezTo>
                    <a:pt x="300038" y="2045613"/>
                    <a:pt x="260414" y="1963290"/>
                    <a:pt x="220790" y="1877675"/>
                  </a:cubicBezTo>
                  <a:cubicBezTo>
                    <a:pt x="217488" y="1821696"/>
                    <a:pt x="217488" y="1765717"/>
                    <a:pt x="217488" y="1709738"/>
                  </a:cubicBezTo>
                  <a:close/>
                  <a:moveTo>
                    <a:pt x="352425" y="1695450"/>
                  </a:moveTo>
                  <a:cubicBezTo>
                    <a:pt x="392049" y="1761431"/>
                    <a:pt x="434975" y="1827411"/>
                    <a:pt x="474599" y="1893392"/>
                  </a:cubicBezTo>
                  <a:cubicBezTo>
                    <a:pt x="517525" y="1956073"/>
                    <a:pt x="557149" y="2022054"/>
                    <a:pt x="596773" y="2088034"/>
                  </a:cubicBezTo>
                  <a:cubicBezTo>
                    <a:pt x="596773" y="2167211"/>
                    <a:pt x="596773" y="2249687"/>
                    <a:pt x="600075" y="2328863"/>
                  </a:cubicBezTo>
                  <a:cubicBezTo>
                    <a:pt x="557149" y="2256285"/>
                    <a:pt x="517525" y="2183706"/>
                    <a:pt x="474599" y="2111128"/>
                  </a:cubicBezTo>
                  <a:cubicBezTo>
                    <a:pt x="434975" y="2038549"/>
                    <a:pt x="395351" y="1965970"/>
                    <a:pt x="352425" y="1893392"/>
                  </a:cubicBezTo>
                  <a:cubicBezTo>
                    <a:pt x="352425" y="1827411"/>
                    <a:pt x="352425" y="1761431"/>
                    <a:pt x="352425" y="1695450"/>
                  </a:cubicBezTo>
                  <a:close/>
                  <a:moveTo>
                    <a:pt x="85725" y="1639888"/>
                  </a:moveTo>
                  <a:cubicBezTo>
                    <a:pt x="125370" y="1725496"/>
                    <a:pt x="165014" y="1807810"/>
                    <a:pt x="207963" y="1893418"/>
                  </a:cubicBezTo>
                  <a:cubicBezTo>
                    <a:pt x="247607" y="1979025"/>
                    <a:pt x="287252" y="2064633"/>
                    <a:pt x="330200" y="2146947"/>
                  </a:cubicBezTo>
                  <a:cubicBezTo>
                    <a:pt x="330200" y="2186459"/>
                    <a:pt x="330200" y="2222677"/>
                    <a:pt x="330200" y="2262188"/>
                  </a:cubicBezTo>
                  <a:cubicBezTo>
                    <a:pt x="287252" y="2173288"/>
                    <a:pt x="247607" y="2084388"/>
                    <a:pt x="207963" y="1995488"/>
                  </a:cubicBezTo>
                  <a:cubicBezTo>
                    <a:pt x="168318" y="1906588"/>
                    <a:pt x="125370" y="1814396"/>
                    <a:pt x="85725" y="1725496"/>
                  </a:cubicBezTo>
                  <a:cubicBezTo>
                    <a:pt x="85725" y="1699155"/>
                    <a:pt x="85725" y="1669522"/>
                    <a:pt x="85725" y="1639888"/>
                  </a:cubicBezTo>
                  <a:close/>
                  <a:moveTo>
                    <a:pt x="487363" y="1636713"/>
                  </a:moveTo>
                  <a:cubicBezTo>
                    <a:pt x="530289" y="1692616"/>
                    <a:pt x="569913" y="1748519"/>
                    <a:pt x="609537" y="1801133"/>
                  </a:cubicBezTo>
                  <a:cubicBezTo>
                    <a:pt x="652463" y="1857036"/>
                    <a:pt x="692087" y="1912938"/>
                    <a:pt x="735013" y="1968841"/>
                  </a:cubicBezTo>
                  <a:cubicBezTo>
                    <a:pt x="735013" y="2057628"/>
                    <a:pt x="735013" y="2146415"/>
                    <a:pt x="735013" y="2235201"/>
                  </a:cubicBezTo>
                  <a:cubicBezTo>
                    <a:pt x="692087" y="2172722"/>
                    <a:pt x="652463" y="2110242"/>
                    <a:pt x="612839" y="2047763"/>
                  </a:cubicBezTo>
                  <a:cubicBezTo>
                    <a:pt x="569913" y="1981995"/>
                    <a:pt x="530289" y="1919515"/>
                    <a:pt x="487363" y="1857036"/>
                  </a:cubicBezTo>
                  <a:cubicBezTo>
                    <a:pt x="487363" y="1781403"/>
                    <a:pt x="487363" y="1709058"/>
                    <a:pt x="487363" y="1636713"/>
                  </a:cubicBezTo>
                  <a:close/>
                  <a:moveTo>
                    <a:pt x="26988" y="1514475"/>
                  </a:moveTo>
                  <a:cubicBezTo>
                    <a:pt x="36513" y="1537667"/>
                    <a:pt x="46038" y="1560858"/>
                    <a:pt x="55563" y="1580736"/>
                  </a:cubicBezTo>
                  <a:cubicBezTo>
                    <a:pt x="55563" y="1610554"/>
                    <a:pt x="55563" y="1637058"/>
                    <a:pt x="58738" y="1666875"/>
                  </a:cubicBezTo>
                  <a:cubicBezTo>
                    <a:pt x="46038" y="1643684"/>
                    <a:pt x="36513" y="1620493"/>
                    <a:pt x="26988" y="1597301"/>
                  </a:cubicBezTo>
                  <a:cubicBezTo>
                    <a:pt x="26988" y="1570797"/>
                    <a:pt x="26988" y="1544293"/>
                    <a:pt x="26988" y="1514475"/>
                  </a:cubicBezTo>
                  <a:close/>
                  <a:moveTo>
                    <a:pt x="627063" y="1492250"/>
                  </a:moveTo>
                  <a:cubicBezTo>
                    <a:pt x="683155" y="1554714"/>
                    <a:pt x="739246" y="1617179"/>
                    <a:pt x="795338" y="1679643"/>
                  </a:cubicBezTo>
                  <a:cubicBezTo>
                    <a:pt x="795338" y="1771695"/>
                    <a:pt x="795338" y="1863748"/>
                    <a:pt x="795338" y="1955800"/>
                  </a:cubicBezTo>
                  <a:cubicBezTo>
                    <a:pt x="739246" y="1883473"/>
                    <a:pt x="683155" y="1811146"/>
                    <a:pt x="627063" y="1738819"/>
                  </a:cubicBezTo>
                  <a:cubicBezTo>
                    <a:pt x="627063" y="1656630"/>
                    <a:pt x="627063" y="1574440"/>
                    <a:pt x="627063" y="1492250"/>
                  </a:cubicBezTo>
                  <a:close/>
                  <a:moveTo>
                    <a:pt x="23813" y="1346200"/>
                  </a:moveTo>
                  <a:cubicBezTo>
                    <a:pt x="79376" y="1448385"/>
                    <a:pt x="134938" y="1553865"/>
                    <a:pt x="190501" y="1656050"/>
                  </a:cubicBezTo>
                  <a:cubicBezTo>
                    <a:pt x="190501" y="1712086"/>
                    <a:pt x="190501" y="1764827"/>
                    <a:pt x="190501" y="1820863"/>
                  </a:cubicBezTo>
                  <a:cubicBezTo>
                    <a:pt x="134938" y="1708790"/>
                    <a:pt x="79376" y="1593421"/>
                    <a:pt x="27081" y="1481347"/>
                  </a:cubicBezTo>
                  <a:cubicBezTo>
                    <a:pt x="23813" y="1435200"/>
                    <a:pt x="23813" y="1389052"/>
                    <a:pt x="23813" y="1346200"/>
                  </a:cubicBezTo>
                  <a:close/>
                  <a:moveTo>
                    <a:pt x="762000" y="1300163"/>
                  </a:moveTo>
                  <a:cubicBezTo>
                    <a:pt x="772002" y="1310047"/>
                    <a:pt x="785337" y="1319930"/>
                    <a:pt x="795338" y="1329814"/>
                  </a:cubicBezTo>
                  <a:cubicBezTo>
                    <a:pt x="795338" y="1422060"/>
                    <a:pt x="795338" y="1514305"/>
                    <a:pt x="795338" y="1606551"/>
                  </a:cubicBezTo>
                  <a:cubicBezTo>
                    <a:pt x="785337" y="1596668"/>
                    <a:pt x="772002" y="1583490"/>
                    <a:pt x="762000" y="1573606"/>
                  </a:cubicBezTo>
                  <a:cubicBezTo>
                    <a:pt x="762000" y="1481360"/>
                    <a:pt x="762000" y="1392409"/>
                    <a:pt x="762000" y="1300163"/>
                  </a:cubicBezTo>
                  <a:close/>
                  <a:moveTo>
                    <a:pt x="214313" y="1265238"/>
                  </a:moveTo>
                  <a:cubicBezTo>
                    <a:pt x="253937" y="1321152"/>
                    <a:pt x="296863" y="1373778"/>
                    <a:pt x="336487" y="1429692"/>
                  </a:cubicBezTo>
                  <a:cubicBezTo>
                    <a:pt x="379413" y="1485606"/>
                    <a:pt x="419037" y="1541520"/>
                    <a:pt x="461963" y="1597434"/>
                  </a:cubicBezTo>
                  <a:cubicBezTo>
                    <a:pt x="461963" y="1669794"/>
                    <a:pt x="461963" y="1742154"/>
                    <a:pt x="461963" y="1814513"/>
                  </a:cubicBezTo>
                  <a:cubicBezTo>
                    <a:pt x="419037" y="1752021"/>
                    <a:pt x="379413" y="1686239"/>
                    <a:pt x="339789" y="1623747"/>
                  </a:cubicBezTo>
                  <a:cubicBezTo>
                    <a:pt x="296863" y="1561255"/>
                    <a:pt x="257239" y="1498762"/>
                    <a:pt x="214313" y="1436270"/>
                  </a:cubicBezTo>
                  <a:cubicBezTo>
                    <a:pt x="214313" y="1377067"/>
                    <a:pt x="214313" y="1321152"/>
                    <a:pt x="214313" y="1265238"/>
                  </a:cubicBezTo>
                  <a:close/>
                  <a:moveTo>
                    <a:pt x="79375" y="1260475"/>
                  </a:moveTo>
                  <a:cubicBezTo>
                    <a:pt x="118999" y="1326487"/>
                    <a:pt x="161925" y="1392498"/>
                    <a:pt x="201549" y="1455209"/>
                  </a:cubicBezTo>
                  <a:cubicBezTo>
                    <a:pt x="244475" y="1521220"/>
                    <a:pt x="284099" y="1587231"/>
                    <a:pt x="323723" y="1653242"/>
                  </a:cubicBezTo>
                  <a:cubicBezTo>
                    <a:pt x="327025" y="1715953"/>
                    <a:pt x="327025" y="1778664"/>
                    <a:pt x="327025" y="1844675"/>
                  </a:cubicBezTo>
                  <a:cubicBezTo>
                    <a:pt x="287401" y="1772063"/>
                    <a:pt x="244475" y="1699450"/>
                    <a:pt x="204851" y="1626838"/>
                  </a:cubicBezTo>
                  <a:cubicBezTo>
                    <a:pt x="161925" y="1554226"/>
                    <a:pt x="122301" y="1478313"/>
                    <a:pt x="82677" y="1405700"/>
                  </a:cubicBezTo>
                  <a:cubicBezTo>
                    <a:pt x="79375" y="1356192"/>
                    <a:pt x="79375" y="1309984"/>
                    <a:pt x="79375" y="1260475"/>
                  </a:cubicBezTo>
                  <a:close/>
                  <a:moveTo>
                    <a:pt x="349250" y="1189038"/>
                  </a:moveTo>
                  <a:cubicBezTo>
                    <a:pt x="388874" y="1231768"/>
                    <a:pt x="431800" y="1277786"/>
                    <a:pt x="471424" y="1323803"/>
                  </a:cubicBezTo>
                  <a:cubicBezTo>
                    <a:pt x="514350" y="1369820"/>
                    <a:pt x="553974" y="1415837"/>
                    <a:pt x="596900" y="1461854"/>
                  </a:cubicBezTo>
                  <a:cubicBezTo>
                    <a:pt x="596900" y="1540741"/>
                    <a:pt x="596900" y="1619628"/>
                    <a:pt x="596900" y="1701801"/>
                  </a:cubicBezTo>
                  <a:cubicBezTo>
                    <a:pt x="557276" y="1649210"/>
                    <a:pt x="514350" y="1596619"/>
                    <a:pt x="474726" y="1544028"/>
                  </a:cubicBezTo>
                  <a:cubicBezTo>
                    <a:pt x="431800" y="1488150"/>
                    <a:pt x="392176" y="1435559"/>
                    <a:pt x="349250" y="1382968"/>
                  </a:cubicBezTo>
                  <a:cubicBezTo>
                    <a:pt x="349250" y="1317229"/>
                    <a:pt x="349250" y="1251490"/>
                    <a:pt x="349250" y="1189038"/>
                  </a:cubicBezTo>
                  <a:close/>
                  <a:moveTo>
                    <a:pt x="19050" y="1165225"/>
                  </a:moveTo>
                  <a:cubicBezTo>
                    <a:pt x="29051" y="1181785"/>
                    <a:pt x="39053" y="1198344"/>
                    <a:pt x="49054" y="1214903"/>
                  </a:cubicBezTo>
                  <a:cubicBezTo>
                    <a:pt x="52388" y="1264581"/>
                    <a:pt x="52388" y="1310947"/>
                    <a:pt x="52388" y="1357313"/>
                  </a:cubicBezTo>
                  <a:cubicBezTo>
                    <a:pt x="42387" y="1337442"/>
                    <a:pt x="32385" y="1320883"/>
                    <a:pt x="22384" y="1301012"/>
                  </a:cubicBezTo>
                  <a:cubicBezTo>
                    <a:pt x="19050" y="1254646"/>
                    <a:pt x="19050" y="1211591"/>
                    <a:pt x="19050" y="1165225"/>
                  </a:cubicBezTo>
                  <a:close/>
                  <a:moveTo>
                    <a:pt x="484188" y="1060450"/>
                  </a:moveTo>
                  <a:cubicBezTo>
                    <a:pt x="527092" y="1096682"/>
                    <a:pt x="566696" y="1132914"/>
                    <a:pt x="609601" y="1169146"/>
                  </a:cubicBezTo>
                  <a:cubicBezTo>
                    <a:pt x="652505" y="1205377"/>
                    <a:pt x="692109" y="1241609"/>
                    <a:pt x="735013" y="1277841"/>
                  </a:cubicBezTo>
                  <a:cubicBezTo>
                    <a:pt x="735013" y="1366773"/>
                    <a:pt x="735013" y="1455706"/>
                    <a:pt x="735013" y="1544638"/>
                  </a:cubicBezTo>
                  <a:cubicBezTo>
                    <a:pt x="692109" y="1501819"/>
                    <a:pt x="652505" y="1455706"/>
                    <a:pt x="609601" y="1412886"/>
                  </a:cubicBezTo>
                  <a:cubicBezTo>
                    <a:pt x="569997" y="1370067"/>
                    <a:pt x="527092" y="1327248"/>
                    <a:pt x="487488" y="1281135"/>
                  </a:cubicBezTo>
                  <a:cubicBezTo>
                    <a:pt x="487488" y="1208671"/>
                    <a:pt x="484188" y="1132914"/>
                    <a:pt x="484188" y="1060450"/>
                  </a:cubicBezTo>
                  <a:close/>
                  <a:moveTo>
                    <a:pt x="15875" y="993775"/>
                  </a:moveTo>
                  <a:cubicBezTo>
                    <a:pt x="71926" y="1072833"/>
                    <a:pt x="127977" y="1148596"/>
                    <a:pt x="184028" y="1224360"/>
                  </a:cubicBezTo>
                  <a:cubicBezTo>
                    <a:pt x="184028" y="1280359"/>
                    <a:pt x="187325" y="1336358"/>
                    <a:pt x="187325" y="1389063"/>
                  </a:cubicBezTo>
                  <a:cubicBezTo>
                    <a:pt x="131274" y="1303418"/>
                    <a:pt x="75223" y="1217772"/>
                    <a:pt x="19172" y="1132126"/>
                  </a:cubicBezTo>
                  <a:cubicBezTo>
                    <a:pt x="19172" y="1086009"/>
                    <a:pt x="15875" y="1039892"/>
                    <a:pt x="15875" y="993775"/>
                  </a:cubicBezTo>
                  <a:close/>
                  <a:moveTo>
                    <a:pt x="73025" y="882650"/>
                  </a:moveTo>
                  <a:cubicBezTo>
                    <a:pt x="115929" y="928676"/>
                    <a:pt x="155533" y="974703"/>
                    <a:pt x="198438" y="1020729"/>
                  </a:cubicBezTo>
                  <a:cubicBezTo>
                    <a:pt x="238042" y="1063468"/>
                    <a:pt x="280946" y="1109494"/>
                    <a:pt x="320550" y="1155520"/>
                  </a:cubicBezTo>
                  <a:cubicBezTo>
                    <a:pt x="323850" y="1217984"/>
                    <a:pt x="323850" y="1283736"/>
                    <a:pt x="323850" y="1346200"/>
                  </a:cubicBezTo>
                  <a:cubicBezTo>
                    <a:pt x="280946" y="1293599"/>
                    <a:pt x="241342" y="1240997"/>
                    <a:pt x="198438" y="1188396"/>
                  </a:cubicBezTo>
                  <a:cubicBezTo>
                    <a:pt x="158834" y="1132507"/>
                    <a:pt x="119230" y="1079906"/>
                    <a:pt x="76325" y="1027304"/>
                  </a:cubicBezTo>
                  <a:cubicBezTo>
                    <a:pt x="76325" y="977990"/>
                    <a:pt x="76325" y="931964"/>
                    <a:pt x="73025" y="882650"/>
                  </a:cubicBezTo>
                  <a:close/>
                  <a:moveTo>
                    <a:pt x="623888" y="849313"/>
                  </a:moveTo>
                  <a:cubicBezTo>
                    <a:pt x="679939" y="885570"/>
                    <a:pt x="739287" y="921827"/>
                    <a:pt x="795338" y="958084"/>
                  </a:cubicBezTo>
                  <a:cubicBezTo>
                    <a:pt x="795338" y="1050374"/>
                    <a:pt x="795338" y="1142665"/>
                    <a:pt x="795338" y="1238251"/>
                  </a:cubicBezTo>
                  <a:cubicBezTo>
                    <a:pt x="739287" y="1192106"/>
                    <a:pt x="679939" y="1145961"/>
                    <a:pt x="623888" y="1099816"/>
                  </a:cubicBezTo>
                  <a:cubicBezTo>
                    <a:pt x="623888" y="1014117"/>
                    <a:pt x="623888" y="935011"/>
                    <a:pt x="623888" y="849313"/>
                  </a:cubicBezTo>
                  <a:close/>
                  <a:moveTo>
                    <a:pt x="211138" y="820738"/>
                  </a:moveTo>
                  <a:cubicBezTo>
                    <a:pt x="250762" y="856863"/>
                    <a:pt x="293688" y="892988"/>
                    <a:pt x="333312" y="929113"/>
                  </a:cubicBezTo>
                  <a:cubicBezTo>
                    <a:pt x="376238" y="965237"/>
                    <a:pt x="415862" y="998078"/>
                    <a:pt x="458788" y="1034203"/>
                  </a:cubicBezTo>
                  <a:cubicBezTo>
                    <a:pt x="458788" y="1106452"/>
                    <a:pt x="458788" y="1178702"/>
                    <a:pt x="458788" y="1250951"/>
                  </a:cubicBezTo>
                  <a:cubicBezTo>
                    <a:pt x="419164" y="1208258"/>
                    <a:pt x="376238" y="1165565"/>
                    <a:pt x="336614" y="1122873"/>
                  </a:cubicBezTo>
                  <a:cubicBezTo>
                    <a:pt x="293688" y="1076896"/>
                    <a:pt x="254064" y="1034203"/>
                    <a:pt x="211138" y="991510"/>
                  </a:cubicBezTo>
                  <a:cubicBezTo>
                    <a:pt x="211138" y="932397"/>
                    <a:pt x="211138" y="876567"/>
                    <a:pt x="211138" y="820738"/>
                  </a:cubicBezTo>
                  <a:close/>
                  <a:moveTo>
                    <a:pt x="12700" y="815975"/>
                  </a:moveTo>
                  <a:cubicBezTo>
                    <a:pt x="22701" y="825860"/>
                    <a:pt x="36037" y="839039"/>
                    <a:pt x="46038" y="848923"/>
                  </a:cubicBezTo>
                  <a:cubicBezTo>
                    <a:pt x="46038" y="898346"/>
                    <a:pt x="46038" y="944473"/>
                    <a:pt x="46038" y="990600"/>
                  </a:cubicBezTo>
                  <a:cubicBezTo>
                    <a:pt x="36037" y="977421"/>
                    <a:pt x="26035" y="964242"/>
                    <a:pt x="16034" y="951063"/>
                  </a:cubicBezTo>
                  <a:cubicBezTo>
                    <a:pt x="16034" y="904935"/>
                    <a:pt x="12700" y="858808"/>
                    <a:pt x="12700" y="815975"/>
                  </a:cubicBezTo>
                  <a:close/>
                  <a:moveTo>
                    <a:pt x="346075" y="677863"/>
                  </a:moveTo>
                  <a:cubicBezTo>
                    <a:pt x="388979" y="704208"/>
                    <a:pt x="428583" y="730553"/>
                    <a:pt x="471488" y="753604"/>
                  </a:cubicBezTo>
                  <a:cubicBezTo>
                    <a:pt x="511092" y="779949"/>
                    <a:pt x="553996" y="806293"/>
                    <a:pt x="593600" y="832638"/>
                  </a:cubicBezTo>
                  <a:cubicBezTo>
                    <a:pt x="596900" y="914965"/>
                    <a:pt x="596900" y="993999"/>
                    <a:pt x="596900" y="1076326"/>
                  </a:cubicBezTo>
                  <a:cubicBezTo>
                    <a:pt x="553996" y="1040102"/>
                    <a:pt x="514392" y="1007171"/>
                    <a:pt x="471488" y="974241"/>
                  </a:cubicBezTo>
                  <a:cubicBezTo>
                    <a:pt x="428583" y="941310"/>
                    <a:pt x="388979" y="908379"/>
                    <a:pt x="346075" y="872155"/>
                  </a:cubicBezTo>
                  <a:cubicBezTo>
                    <a:pt x="346075" y="809587"/>
                    <a:pt x="346075" y="743725"/>
                    <a:pt x="346075" y="677863"/>
                  </a:cubicBezTo>
                  <a:close/>
                  <a:moveTo>
                    <a:pt x="9525" y="646113"/>
                  </a:moveTo>
                  <a:cubicBezTo>
                    <a:pt x="68873" y="695475"/>
                    <a:pt x="124924" y="744836"/>
                    <a:pt x="180975" y="794197"/>
                  </a:cubicBezTo>
                  <a:cubicBezTo>
                    <a:pt x="180975" y="850140"/>
                    <a:pt x="180975" y="906083"/>
                    <a:pt x="180975" y="962026"/>
                  </a:cubicBezTo>
                  <a:cubicBezTo>
                    <a:pt x="124924" y="902793"/>
                    <a:pt x="68873" y="840268"/>
                    <a:pt x="12822" y="781034"/>
                  </a:cubicBezTo>
                  <a:cubicBezTo>
                    <a:pt x="12822" y="734964"/>
                    <a:pt x="12822" y="692184"/>
                    <a:pt x="9525" y="646113"/>
                  </a:cubicBezTo>
                  <a:close/>
                  <a:moveTo>
                    <a:pt x="762000" y="595313"/>
                  </a:moveTo>
                  <a:cubicBezTo>
                    <a:pt x="772002" y="598614"/>
                    <a:pt x="785337" y="601916"/>
                    <a:pt x="795338" y="608518"/>
                  </a:cubicBezTo>
                  <a:cubicBezTo>
                    <a:pt x="795338" y="700954"/>
                    <a:pt x="795338" y="793390"/>
                    <a:pt x="795338" y="885826"/>
                  </a:cubicBezTo>
                  <a:cubicBezTo>
                    <a:pt x="785337" y="879224"/>
                    <a:pt x="772002" y="872621"/>
                    <a:pt x="762000" y="866019"/>
                  </a:cubicBezTo>
                  <a:cubicBezTo>
                    <a:pt x="762000" y="776884"/>
                    <a:pt x="762000" y="684448"/>
                    <a:pt x="762000" y="595313"/>
                  </a:cubicBezTo>
                  <a:close/>
                  <a:moveTo>
                    <a:pt x="69850" y="503238"/>
                  </a:moveTo>
                  <a:cubicBezTo>
                    <a:pt x="109454" y="529606"/>
                    <a:pt x="152358" y="555973"/>
                    <a:pt x="195263" y="582341"/>
                  </a:cubicBezTo>
                  <a:cubicBezTo>
                    <a:pt x="234867" y="608709"/>
                    <a:pt x="277771" y="631780"/>
                    <a:pt x="317375" y="658148"/>
                  </a:cubicBezTo>
                  <a:cubicBezTo>
                    <a:pt x="317375" y="724067"/>
                    <a:pt x="320675" y="786690"/>
                    <a:pt x="320675" y="849313"/>
                  </a:cubicBezTo>
                  <a:cubicBezTo>
                    <a:pt x="277771" y="816354"/>
                    <a:pt x="238167" y="783394"/>
                    <a:pt x="195263" y="750435"/>
                  </a:cubicBezTo>
                  <a:cubicBezTo>
                    <a:pt x="155659" y="717475"/>
                    <a:pt x="112754" y="681220"/>
                    <a:pt x="69850" y="648260"/>
                  </a:cubicBezTo>
                  <a:cubicBezTo>
                    <a:pt x="69850" y="598821"/>
                    <a:pt x="69850" y="552677"/>
                    <a:pt x="69850" y="503238"/>
                  </a:cubicBezTo>
                  <a:close/>
                  <a:moveTo>
                    <a:pt x="484188" y="484188"/>
                  </a:moveTo>
                  <a:cubicBezTo>
                    <a:pt x="523792" y="500635"/>
                    <a:pt x="566696" y="517082"/>
                    <a:pt x="609601" y="533529"/>
                  </a:cubicBezTo>
                  <a:cubicBezTo>
                    <a:pt x="649205" y="549976"/>
                    <a:pt x="692109" y="566423"/>
                    <a:pt x="731713" y="582871"/>
                  </a:cubicBezTo>
                  <a:cubicBezTo>
                    <a:pt x="735013" y="671685"/>
                    <a:pt x="735013" y="760499"/>
                    <a:pt x="735013" y="849313"/>
                  </a:cubicBezTo>
                  <a:cubicBezTo>
                    <a:pt x="692109" y="826287"/>
                    <a:pt x="649205" y="803261"/>
                    <a:pt x="609601" y="780236"/>
                  </a:cubicBezTo>
                  <a:cubicBezTo>
                    <a:pt x="566696" y="753920"/>
                    <a:pt x="527092" y="730894"/>
                    <a:pt x="484188" y="707868"/>
                  </a:cubicBezTo>
                  <a:cubicBezTo>
                    <a:pt x="484188" y="632212"/>
                    <a:pt x="484188" y="559845"/>
                    <a:pt x="484188" y="484188"/>
                  </a:cubicBezTo>
                  <a:close/>
                  <a:moveTo>
                    <a:pt x="6350" y="463550"/>
                  </a:moveTo>
                  <a:cubicBezTo>
                    <a:pt x="19628" y="470159"/>
                    <a:pt x="29586" y="476768"/>
                    <a:pt x="39544" y="486682"/>
                  </a:cubicBezTo>
                  <a:cubicBezTo>
                    <a:pt x="39544" y="532947"/>
                    <a:pt x="42863" y="579211"/>
                    <a:pt x="42863" y="625475"/>
                  </a:cubicBezTo>
                  <a:cubicBezTo>
                    <a:pt x="32905" y="618866"/>
                    <a:pt x="19628" y="608952"/>
                    <a:pt x="9669" y="599038"/>
                  </a:cubicBezTo>
                  <a:cubicBezTo>
                    <a:pt x="9669" y="556079"/>
                    <a:pt x="9669" y="509814"/>
                    <a:pt x="6350" y="463550"/>
                  </a:cubicBezTo>
                  <a:close/>
                  <a:moveTo>
                    <a:pt x="204788" y="374650"/>
                  </a:moveTo>
                  <a:cubicBezTo>
                    <a:pt x="247692" y="391187"/>
                    <a:pt x="290597" y="407723"/>
                    <a:pt x="330201" y="424260"/>
                  </a:cubicBezTo>
                  <a:cubicBezTo>
                    <a:pt x="373105" y="440796"/>
                    <a:pt x="412709" y="457332"/>
                    <a:pt x="455613" y="473869"/>
                  </a:cubicBezTo>
                  <a:cubicBezTo>
                    <a:pt x="455613" y="546629"/>
                    <a:pt x="455613" y="619390"/>
                    <a:pt x="455613" y="692150"/>
                  </a:cubicBezTo>
                  <a:cubicBezTo>
                    <a:pt x="416009" y="665692"/>
                    <a:pt x="373105" y="642541"/>
                    <a:pt x="333501" y="619390"/>
                  </a:cubicBezTo>
                  <a:cubicBezTo>
                    <a:pt x="290597" y="592931"/>
                    <a:pt x="247692" y="569780"/>
                    <a:pt x="208088" y="546629"/>
                  </a:cubicBezTo>
                  <a:cubicBezTo>
                    <a:pt x="208088" y="487098"/>
                    <a:pt x="204788" y="430874"/>
                    <a:pt x="204788" y="374650"/>
                  </a:cubicBezTo>
                  <a:close/>
                  <a:moveTo>
                    <a:pt x="6350" y="296863"/>
                  </a:moveTo>
                  <a:cubicBezTo>
                    <a:pt x="62401" y="319871"/>
                    <a:pt x="118452" y="339592"/>
                    <a:pt x="177800" y="362599"/>
                  </a:cubicBezTo>
                  <a:cubicBezTo>
                    <a:pt x="177800" y="418475"/>
                    <a:pt x="177800" y="474350"/>
                    <a:pt x="177800" y="530226"/>
                  </a:cubicBezTo>
                  <a:cubicBezTo>
                    <a:pt x="121749" y="497358"/>
                    <a:pt x="65698" y="464490"/>
                    <a:pt x="6350" y="431622"/>
                  </a:cubicBezTo>
                  <a:cubicBezTo>
                    <a:pt x="6350" y="385607"/>
                    <a:pt x="6350" y="339592"/>
                    <a:pt x="6350" y="296863"/>
                  </a:cubicBezTo>
                  <a:close/>
                  <a:moveTo>
                    <a:pt x="623888" y="211138"/>
                  </a:moveTo>
                  <a:cubicBezTo>
                    <a:pt x="679939" y="221026"/>
                    <a:pt x="735990" y="227617"/>
                    <a:pt x="795338" y="237504"/>
                  </a:cubicBezTo>
                  <a:cubicBezTo>
                    <a:pt x="795338" y="329787"/>
                    <a:pt x="795338" y="422069"/>
                    <a:pt x="795338" y="514351"/>
                  </a:cubicBezTo>
                  <a:cubicBezTo>
                    <a:pt x="739287" y="494576"/>
                    <a:pt x="679939" y="478097"/>
                    <a:pt x="623888" y="458323"/>
                  </a:cubicBezTo>
                  <a:cubicBezTo>
                    <a:pt x="623888" y="375928"/>
                    <a:pt x="623888" y="293533"/>
                    <a:pt x="623888" y="211138"/>
                  </a:cubicBezTo>
                  <a:close/>
                  <a:moveTo>
                    <a:pt x="342900" y="168275"/>
                  </a:moveTo>
                  <a:cubicBezTo>
                    <a:pt x="385804" y="174849"/>
                    <a:pt x="425408" y="181423"/>
                    <a:pt x="468313" y="187997"/>
                  </a:cubicBezTo>
                  <a:cubicBezTo>
                    <a:pt x="511217" y="194572"/>
                    <a:pt x="550821" y="201146"/>
                    <a:pt x="593725" y="207720"/>
                  </a:cubicBezTo>
                  <a:cubicBezTo>
                    <a:pt x="593725" y="286609"/>
                    <a:pt x="593725" y="365499"/>
                    <a:pt x="593725" y="447675"/>
                  </a:cubicBezTo>
                  <a:cubicBezTo>
                    <a:pt x="554121" y="434527"/>
                    <a:pt x="511217" y="421379"/>
                    <a:pt x="468313" y="404943"/>
                  </a:cubicBezTo>
                  <a:cubicBezTo>
                    <a:pt x="428709" y="391795"/>
                    <a:pt x="385804" y="378647"/>
                    <a:pt x="342900" y="365499"/>
                  </a:cubicBezTo>
                  <a:cubicBezTo>
                    <a:pt x="342900" y="299757"/>
                    <a:pt x="342900" y="234016"/>
                    <a:pt x="342900" y="168275"/>
                  </a:cubicBezTo>
                  <a:close/>
                  <a:moveTo>
                    <a:pt x="61913" y="125413"/>
                  </a:moveTo>
                  <a:cubicBezTo>
                    <a:pt x="104796" y="131990"/>
                    <a:pt x="147679" y="138567"/>
                    <a:pt x="187264" y="145144"/>
                  </a:cubicBezTo>
                  <a:cubicBezTo>
                    <a:pt x="230147" y="151720"/>
                    <a:pt x="273030" y="158297"/>
                    <a:pt x="312614" y="164874"/>
                  </a:cubicBezTo>
                  <a:cubicBezTo>
                    <a:pt x="312614" y="227354"/>
                    <a:pt x="312614" y="289833"/>
                    <a:pt x="315913" y="355601"/>
                  </a:cubicBezTo>
                  <a:cubicBezTo>
                    <a:pt x="273030" y="339159"/>
                    <a:pt x="230147" y="326006"/>
                    <a:pt x="190562" y="312852"/>
                  </a:cubicBezTo>
                  <a:cubicBezTo>
                    <a:pt x="147679" y="299698"/>
                    <a:pt x="104796" y="283256"/>
                    <a:pt x="65212" y="270103"/>
                  </a:cubicBezTo>
                  <a:cubicBezTo>
                    <a:pt x="65212" y="220777"/>
                    <a:pt x="61913" y="174739"/>
                    <a:pt x="61913" y="125413"/>
                  </a:cubicBezTo>
                  <a:close/>
                  <a:moveTo>
                    <a:pt x="3175" y="115888"/>
                  </a:moveTo>
                  <a:cubicBezTo>
                    <a:pt x="13176" y="119171"/>
                    <a:pt x="23178" y="119171"/>
                    <a:pt x="33179" y="122455"/>
                  </a:cubicBezTo>
                  <a:cubicBezTo>
                    <a:pt x="36513" y="168420"/>
                    <a:pt x="36513" y="214386"/>
                    <a:pt x="36513" y="260351"/>
                  </a:cubicBezTo>
                  <a:cubicBezTo>
                    <a:pt x="26512" y="257068"/>
                    <a:pt x="16510" y="253785"/>
                    <a:pt x="3175" y="250501"/>
                  </a:cubicBezTo>
                  <a:cubicBezTo>
                    <a:pt x="3175" y="204536"/>
                    <a:pt x="3175" y="161854"/>
                    <a:pt x="3175" y="115888"/>
                  </a:cubicBezTo>
                  <a:close/>
                  <a:moveTo>
                    <a:pt x="762000" y="0"/>
                  </a:moveTo>
                  <a:cubicBezTo>
                    <a:pt x="772002" y="0"/>
                    <a:pt x="785337" y="0"/>
                    <a:pt x="795338" y="0"/>
                  </a:cubicBezTo>
                  <a:cubicBezTo>
                    <a:pt x="795338" y="56134"/>
                    <a:pt x="795338" y="108966"/>
                    <a:pt x="795338" y="165100"/>
                  </a:cubicBezTo>
                  <a:cubicBezTo>
                    <a:pt x="785337" y="165100"/>
                    <a:pt x="772002" y="161798"/>
                    <a:pt x="762000" y="161798"/>
                  </a:cubicBezTo>
                  <a:cubicBezTo>
                    <a:pt x="762000" y="108966"/>
                    <a:pt x="762000" y="52832"/>
                    <a:pt x="762000" y="0"/>
                  </a:cubicBezTo>
                  <a:close/>
                  <a:moveTo>
                    <a:pt x="481013" y="0"/>
                  </a:moveTo>
                  <a:cubicBezTo>
                    <a:pt x="523917" y="0"/>
                    <a:pt x="566822" y="0"/>
                    <a:pt x="606426" y="0"/>
                  </a:cubicBezTo>
                  <a:cubicBezTo>
                    <a:pt x="649330" y="0"/>
                    <a:pt x="692234" y="0"/>
                    <a:pt x="731838" y="0"/>
                  </a:cubicBezTo>
                  <a:cubicBezTo>
                    <a:pt x="731838" y="52917"/>
                    <a:pt x="731838" y="105833"/>
                    <a:pt x="731838" y="158750"/>
                  </a:cubicBezTo>
                  <a:cubicBezTo>
                    <a:pt x="692234" y="155443"/>
                    <a:pt x="649330" y="148828"/>
                    <a:pt x="606426" y="145521"/>
                  </a:cubicBezTo>
                  <a:cubicBezTo>
                    <a:pt x="566822" y="142214"/>
                    <a:pt x="523917" y="135599"/>
                    <a:pt x="481013" y="132292"/>
                  </a:cubicBezTo>
                  <a:cubicBezTo>
                    <a:pt x="481013" y="89297"/>
                    <a:pt x="481013" y="42995"/>
                    <a:pt x="481013" y="0"/>
                  </a:cubicBezTo>
                  <a:close/>
                  <a:moveTo>
                    <a:pt x="201613" y="0"/>
                  </a:moveTo>
                  <a:cubicBezTo>
                    <a:pt x="244496" y="0"/>
                    <a:pt x="287379" y="0"/>
                    <a:pt x="326964" y="0"/>
                  </a:cubicBezTo>
                  <a:cubicBezTo>
                    <a:pt x="369847" y="0"/>
                    <a:pt x="412730" y="0"/>
                    <a:pt x="452314" y="0"/>
                  </a:cubicBezTo>
                  <a:cubicBezTo>
                    <a:pt x="452314" y="42863"/>
                    <a:pt x="452314" y="85725"/>
                    <a:pt x="455613" y="128588"/>
                  </a:cubicBezTo>
                  <a:cubicBezTo>
                    <a:pt x="412730" y="125291"/>
                    <a:pt x="369847" y="118697"/>
                    <a:pt x="330262" y="115400"/>
                  </a:cubicBezTo>
                  <a:cubicBezTo>
                    <a:pt x="287379" y="112102"/>
                    <a:pt x="244496" y="105508"/>
                    <a:pt x="201613" y="102211"/>
                  </a:cubicBezTo>
                  <a:cubicBezTo>
                    <a:pt x="201613" y="69240"/>
                    <a:pt x="201613" y="32971"/>
                    <a:pt x="201613" y="0"/>
                  </a:cubicBezTo>
                  <a:close/>
                  <a:moveTo>
                    <a:pt x="0" y="0"/>
                  </a:moveTo>
                  <a:cubicBezTo>
                    <a:pt x="56012" y="0"/>
                    <a:pt x="115318" y="0"/>
                    <a:pt x="171330" y="0"/>
                  </a:cubicBezTo>
                  <a:cubicBezTo>
                    <a:pt x="171330" y="32808"/>
                    <a:pt x="174625" y="65617"/>
                    <a:pt x="174625" y="98425"/>
                  </a:cubicBezTo>
                  <a:cubicBezTo>
                    <a:pt x="115318" y="91863"/>
                    <a:pt x="59307" y="85302"/>
                    <a:pt x="0" y="78740"/>
                  </a:cubicBezTo>
                  <a:cubicBezTo>
                    <a:pt x="0" y="52493"/>
                    <a:pt x="0" y="26247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/>
            <p:cNvSpPr/>
            <p:nvPr/>
          </p:nvSpPr>
          <p:spPr bwMode="auto">
            <a:xfrm>
              <a:off x="3587429" y="3732879"/>
              <a:ext cx="2414238" cy="2410740"/>
            </a:xfrm>
            <a:custGeom>
              <a:avLst/>
              <a:gdLst>
                <a:gd name="T0" fmla="*/ 998 w 998"/>
                <a:gd name="T1" fmla="*/ 242 h 998"/>
                <a:gd name="T2" fmla="*/ 998 w 998"/>
                <a:gd name="T3" fmla="*/ 998 h 998"/>
                <a:gd name="T4" fmla="*/ 0 w 998"/>
                <a:gd name="T5" fmla="*/ 998 h 998"/>
                <a:gd name="T6" fmla="*/ 0 w 998"/>
                <a:gd name="T7" fmla="*/ 0 h 998"/>
                <a:gd name="T8" fmla="*/ 756 w 998"/>
                <a:gd name="T9" fmla="*/ 0 h 998"/>
                <a:gd name="T10" fmla="*/ 998 w 998"/>
                <a:gd name="T11" fmla="*/ 242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8" h="998">
                  <a:moveTo>
                    <a:pt x="998" y="242"/>
                  </a:moveTo>
                  <a:cubicBezTo>
                    <a:pt x="998" y="998"/>
                    <a:pt x="998" y="998"/>
                    <a:pt x="998" y="998"/>
                  </a:cubicBezTo>
                  <a:cubicBezTo>
                    <a:pt x="0" y="998"/>
                    <a:pt x="0" y="998"/>
                    <a:pt x="0" y="9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6" y="0"/>
                    <a:pt x="756" y="0"/>
                    <a:pt x="756" y="0"/>
                  </a:cubicBezTo>
                  <a:cubicBezTo>
                    <a:pt x="774" y="125"/>
                    <a:pt x="873" y="224"/>
                    <a:pt x="998" y="2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/>
            <p:cNvSpPr/>
            <p:nvPr/>
          </p:nvSpPr>
          <p:spPr bwMode="auto">
            <a:xfrm>
              <a:off x="3807539" y="3955320"/>
              <a:ext cx="1971686" cy="1968187"/>
            </a:xfrm>
            <a:custGeom>
              <a:avLst/>
              <a:gdLst>
                <a:gd name="T0" fmla="*/ 0 w 815"/>
                <a:gd name="T1" fmla="*/ 0 h 815"/>
                <a:gd name="T2" fmla="*/ 411 w 815"/>
                <a:gd name="T3" fmla="*/ 0 h 815"/>
                <a:gd name="T4" fmla="*/ 815 w 815"/>
                <a:gd name="T5" fmla="*/ 404 h 815"/>
                <a:gd name="T6" fmla="*/ 815 w 815"/>
                <a:gd name="T7" fmla="*/ 815 h 815"/>
                <a:gd name="T8" fmla="*/ 0 w 815"/>
                <a:gd name="T9" fmla="*/ 815 h 815"/>
                <a:gd name="T10" fmla="*/ 0 w 815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" h="815">
                  <a:moveTo>
                    <a:pt x="0" y="0"/>
                  </a:moveTo>
                  <a:cubicBezTo>
                    <a:pt x="411" y="0"/>
                    <a:pt x="411" y="0"/>
                    <a:pt x="411" y="0"/>
                  </a:cubicBezTo>
                  <a:cubicBezTo>
                    <a:pt x="460" y="199"/>
                    <a:pt x="616" y="355"/>
                    <a:pt x="815" y="404"/>
                  </a:cubicBezTo>
                  <a:cubicBezTo>
                    <a:pt x="815" y="815"/>
                    <a:pt x="815" y="815"/>
                    <a:pt x="815" y="815"/>
                  </a:cubicBezTo>
                  <a:cubicBezTo>
                    <a:pt x="0" y="815"/>
                    <a:pt x="0" y="815"/>
                    <a:pt x="0" y="81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任意多边形: 形状 22"/>
            <p:cNvSpPr/>
            <p:nvPr/>
          </p:nvSpPr>
          <p:spPr bwMode="auto">
            <a:xfrm>
              <a:off x="8604571" y="3732879"/>
              <a:ext cx="583470" cy="2410740"/>
            </a:xfrm>
            <a:custGeom>
              <a:avLst/>
              <a:gdLst>
                <a:gd name="T0" fmla="*/ 501 w 501"/>
                <a:gd name="T1" fmla="*/ 967 h 2070"/>
                <a:gd name="T2" fmla="*/ 0 w 501"/>
                <a:gd name="T3" fmla="*/ 2070 h 2070"/>
                <a:gd name="T4" fmla="*/ 0 w 501"/>
                <a:gd name="T5" fmla="*/ 0 h 2070"/>
                <a:gd name="T6" fmla="*/ 501 w 501"/>
                <a:gd name="T7" fmla="*/ 0 h 2070"/>
                <a:gd name="T8" fmla="*/ 501 w 501"/>
                <a:gd name="T9" fmla="*/ 967 h 2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1" h="2070">
                  <a:moveTo>
                    <a:pt x="501" y="967"/>
                  </a:moveTo>
                  <a:lnTo>
                    <a:pt x="0" y="2070"/>
                  </a:lnTo>
                  <a:lnTo>
                    <a:pt x="0" y="0"/>
                  </a:lnTo>
                  <a:lnTo>
                    <a:pt x="501" y="0"/>
                  </a:lnTo>
                  <a:lnTo>
                    <a:pt x="501" y="9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任意多边形: 形状 23"/>
            <p:cNvSpPr/>
            <p:nvPr/>
          </p:nvSpPr>
          <p:spPr bwMode="auto">
            <a:xfrm>
              <a:off x="8604571" y="3732879"/>
              <a:ext cx="583469" cy="2410740"/>
            </a:xfrm>
            <a:custGeom>
              <a:avLst/>
              <a:gdLst>
                <a:gd name="connsiteX0" fmla="*/ 165100 w 795337"/>
                <a:gd name="connsiteY0" fmla="*/ 2773363 h 3286126"/>
                <a:gd name="connsiteX1" fmla="*/ 165100 w 795337"/>
                <a:gd name="connsiteY1" fmla="*/ 2921276 h 3286126"/>
                <a:gd name="connsiteX2" fmla="*/ 0 w 795337"/>
                <a:gd name="connsiteY2" fmla="*/ 3286126 h 3286126"/>
                <a:gd name="connsiteX3" fmla="*/ 0 w 795337"/>
                <a:gd name="connsiteY3" fmla="*/ 3121779 h 3286126"/>
                <a:gd name="connsiteX4" fmla="*/ 165100 w 795337"/>
                <a:gd name="connsiteY4" fmla="*/ 2773363 h 3286126"/>
                <a:gd name="connsiteX5" fmla="*/ 30163 w 795337"/>
                <a:gd name="connsiteY5" fmla="*/ 2713038 h 3286126"/>
                <a:gd name="connsiteX6" fmla="*/ 30163 w 795337"/>
                <a:gd name="connsiteY6" fmla="*/ 2986898 h 3286126"/>
                <a:gd name="connsiteX7" fmla="*/ 0 w 795337"/>
                <a:gd name="connsiteY7" fmla="*/ 3049588 h 3286126"/>
                <a:gd name="connsiteX8" fmla="*/ 0 w 795337"/>
                <a:gd name="connsiteY8" fmla="*/ 2772429 h 3286126"/>
                <a:gd name="connsiteX9" fmla="*/ 30163 w 795337"/>
                <a:gd name="connsiteY9" fmla="*/ 2713038 h 3286126"/>
                <a:gd name="connsiteX10" fmla="*/ 303213 w 795337"/>
                <a:gd name="connsiteY10" fmla="*/ 2209800 h 3286126"/>
                <a:gd name="connsiteX11" fmla="*/ 303213 w 795337"/>
                <a:gd name="connsiteY11" fmla="*/ 2433623 h 3286126"/>
                <a:gd name="connsiteX12" fmla="*/ 181769 w 795337"/>
                <a:gd name="connsiteY12" fmla="*/ 2680487 h 3286126"/>
                <a:gd name="connsiteX13" fmla="*/ 60325 w 795337"/>
                <a:gd name="connsiteY13" fmla="*/ 2927350 h 3286126"/>
                <a:gd name="connsiteX14" fmla="*/ 60325 w 795337"/>
                <a:gd name="connsiteY14" fmla="*/ 2660738 h 3286126"/>
                <a:gd name="connsiteX15" fmla="*/ 181769 w 795337"/>
                <a:gd name="connsiteY15" fmla="*/ 2436915 h 3286126"/>
                <a:gd name="connsiteX16" fmla="*/ 303213 w 795337"/>
                <a:gd name="connsiteY16" fmla="*/ 2209800 h 3286126"/>
                <a:gd name="connsiteX17" fmla="*/ 439737 w 795337"/>
                <a:gd name="connsiteY17" fmla="*/ 2206625 h 3286126"/>
                <a:gd name="connsiteX18" fmla="*/ 436433 w 795337"/>
                <a:gd name="connsiteY18" fmla="*/ 2324966 h 3286126"/>
                <a:gd name="connsiteX19" fmla="*/ 317499 w 795337"/>
                <a:gd name="connsiteY19" fmla="*/ 2591233 h 3286126"/>
                <a:gd name="connsiteX20" fmla="*/ 195262 w 795337"/>
                <a:gd name="connsiteY20" fmla="*/ 2857500 h 3286126"/>
                <a:gd name="connsiteX21" fmla="*/ 195262 w 795337"/>
                <a:gd name="connsiteY21" fmla="*/ 2712861 h 3286126"/>
                <a:gd name="connsiteX22" fmla="*/ 317499 w 795337"/>
                <a:gd name="connsiteY22" fmla="*/ 2459743 h 3286126"/>
                <a:gd name="connsiteX23" fmla="*/ 439737 w 795337"/>
                <a:gd name="connsiteY23" fmla="*/ 2206625 h 3286126"/>
                <a:gd name="connsiteX24" fmla="*/ 168275 w 795337"/>
                <a:gd name="connsiteY24" fmla="*/ 2133600 h 3286126"/>
                <a:gd name="connsiteX25" fmla="*/ 168275 w 795337"/>
                <a:gd name="connsiteY25" fmla="*/ 2380384 h 3286126"/>
                <a:gd name="connsiteX26" fmla="*/ 0 w 795337"/>
                <a:gd name="connsiteY26" fmla="*/ 2676525 h 3286126"/>
                <a:gd name="connsiteX27" fmla="*/ 0 w 795337"/>
                <a:gd name="connsiteY27" fmla="*/ 2400127 h 3286126"/>
                <a:gd name="connsiteX28" fmla="*/ 168275 w 795337"/>
                <a:gd name="connsiteY28" fmla="*/ 2133600 h 3286126"/>
                <a:gd name="connsiteX29" fmla="*/ 30163 w 795337"/>
                <a:gd name="connsiteY29" fmla="*/ 2008188 h 3286126"/>
                <a:gd name="connsiteX30" fmla="*/ 30163 w 795337"/>
                <a:gd name="connsiteY30" fmla="*/ 2279274 h 3286126"/>
                <a:gd name="connsiteX31" fmla="*/ 0 w 795337"/>
                <a:gd name="connsiteY31" fmla="*/ 2328863 h 3286126"/>
                <a:gd name="connsiteX32" fmla="*/ 0 w 795337"/>
                <a:gd name="connsiteY32" fmla="*/ 2051165 h 3286126"/>
                <a:gd name="connsiteX33" fmla="*/ 30163 w 795337"/>
                <a:gd name="connsiteY33" fmla="*/ 2008188 h 3286126"/>
                <a:gd name="connsiteX34" fmla="*/ 577850 w 795337"/>
                <a:gd name="connsiteY34" fmla="*/ 1709738 h 3286126"/>
                <a:gd name="connsiteX35" fmla="*/ 574548 w 795337"/>
                <a:gd name="connsiteY35" fmla="*/ 1877675 h 3286126"/>
                <a:gd name="connsiteX36" fmla="*/ 452374 w 795337"/>
                <a:gd name="connsiteY36" fmla="*/ 2127935 h 3286126"/>
                <a:gd name="connsiteX37" fmla="*/ 330200 w 795337"/>
                <a:gd name="connsiteY37" fmla="*/ 2374901 h 3286126"/>
                <a:gd name="connsiteX38" fmla="*/ 330200 w 795337"/>
                <a:gd name="connsiteY38" fmla="*/ 2160864 h 3286126"/>
                <a:gd name="connsiteX39" fmla="*/ 452374 w 795337"/>
                <a:gd name="connsiteY39" fmla="*/ 1933654 h 3286126"/>
                <a:gd name="connsiteX40" fmla="*/ 577850 w 795337"/>
                <a:gd name="connsiteY40" fmla="*/ 1709738 h 3286126"/>
                <a:gd name="connsiteX41" fmla="*/ 442912 w 795337"/>
                <a:gd name="connsiteY41" fmla="*/ 1695450 h 3286126"/>
                <a:gd name="connsiteX42" fmla="*/ 439610 w 795337"/>
                <a:gd name="connsiteY42" fmla="*/ 1893392 h 3286126"/>
                <a:gd name="connsiteX43" fmla="*/ 317436 w 795337"/>
                <a:gd name="connsiteY43" fmla="*/ 2111128 h 3286126"/>
                <a:gd name="connsiteX44" fmla="*/ 195262 w 795337"/>
                <a:gd name="connsiteY44" fmla="*/ 2328863 h 3286126"/>
                <a:gd name="connsiteX45" fmla="*/ 195262 w 795337"/>
                <a:gd name="connsiteY45" fmla="*/ 2088034 h 3286126"/>
                <a:gd name="connsiteX46" fmla="*/ 317436 w 795337"/>
                <a:gd name="connsiteY46" fmla="*/ 1893392 h 3286126"/>
                <a:gd name="connsiteX47" fmla="*/ 442912 w 795337"/>
                <a:gd name="connsiteY47" fmla="*/ 1695450 h 3286126"/>
                <a:gd name="connsiteX48" fmla="*/ 709612 w 795337"/>
                <a:gd name="connsiteY48" fmla="*/ 1639888 h 3286126"/>
                <a:gd name="connsiteX49" fmla="*/ 709612 w 795337"/>
                <a:gd name="connsiteY49" fmla="*/ 1725496 h 3286126"/>
                <a:gd name="connsiteX50" fmla="*/ 587375 w 795337"/>
                <a:gd name="connsiteY50" fmla="*/ 1995488 h 3286126"/>
                <a:gd name="connsiteX51" fmla="*/ 465137 w 795337"/>
                <a:gd name="connsiteY51" fmla="*/ 2262188 h 3286126"/>
                <a:gd name="connsiteX52" fmla="*/ 465137 w 795337"/>
                <a:gd name="connsiteY52" fmla="*/ 2146947 h 3286126"/>
                <a:gd name="connsiteX53" fmla="*/ 587375 w 795337"/>
                <a:gd name="connsiteY53" fmla="*/ 1893418 h 3286126"/>
                <a:gd name="connsiteX54" fmla="*/ 709612 w 795337"/>
                <a:gd name="connsiteY54" fmla="*/ 1639888 h 3286126"/>
                <a:gd name="connsiteX55" fmla="*/ 307975 w 795337"/>
                <a:gd name="connsiteY55" fmla="*/ 1636713 h 3286126"/>
                <a:gd name="connsiteX56" fmla="*/ 304673 w 795337"/>
                <a:gd name="connsiteY56" fmla="*/ 1857036 h 3286126"/>
                <a:gd name="connsiteX57" fmla="*/ 182499 w 795337"/>
                <a:gd name="connsiteY57" fmla="*/ 2047763 h 3286126"/>
                <a:gd name="connsiteX58" fmla="*/ 60325 w 795337"/>
                <a:gd name="connsiteY58" fmla="*/ 2235201 h 3286126"/>
                <a:gd name="connsiteX59" fmla="*/ 60325 w 795337"/>
                <a:gd name="connsiteY59" fmla="*/ 1968841 h 3286126"/>
                <a:gd name="connsiteX60" fmla="*/ 182499 w 795337"/>
                <a:gd name="connsiteY60" fmla="*/ 1801133 h 3286126"/>
                <a:gd name="connsiteX61" fmla="*/ 307975 w 795337"/>
                <a:gd name="connsiteY61" fmla="*/ 1636713 h 3286126"/>
                <a:gd name="connsiteX62" fmla="*/ 768350 w 795337"/>
                <a:gd name="connsiteY62" fmla="*/ 1514475 h 3286126"/>
                <a:gd name="connsiteX63" fmla="*/ 768350 w 795337"/>
                <a:gd name="connsiteY63" fmla="*/ 1597301 h 3286126"/>
                <a:gd name="connsiteX64" fmla="*/ 736600 w 795337"/>
                <a:gd name="connsiteY64" fmla="*/ 1666875 h 3286126"/>
                <a:gd name="connsiteX65" fmla="*/ 736600 w 795337"/>
                <a:gd name="connsiteY65" fmla="*/ 1580736 h 3286126"/>
                <a:gd name="connsiteX66" fmla="*/ 768350 w 795337"/>
                <a:gd name="connsiteY66" fmla="*/ 1514475 h 3286126"/>
                <a:gd name="connsiteX67" fmla="*/ 168275 w 795337"/>
                <a:gd name="connsiteY67" fmla="*/ 1492250 h 3286126"/>
                <a:gd name="connsiteX68" fmla="*/ 168275 w 795337"/>
                <a:gd name="connsiteY68" fmla="*/ 1738819 h 3286126"/>
                <a:gd name="connsiteX69" fmla="*/ 0 w 795337"/>
                <a:gd name="connsiteY69" fmla="*/ 1955800 h 3286126"/>
                <a:gd name="connsiteX70" fmla="*/ 0 w 795337"/>
                <a:gd name="connsiteY70" fmla="*/ 1679643 h 3286126"/>
                <a:gd name="connsiteX71" fmla="*/ 168275 w 795337"/>
                <a:gd name="connsiteY71" fmla="*/ 1492250 h 3286126"/>
                <a:gd name="connsiteX72" fmla="*/ 771525 w 795337"/>
                <a:gd name="connsiteY72" fmla="*/ 1346200 h 3286126"/>
                <a:gd name="connsiteX73" fmla="*/ 768228 w 795337"/>
                <a:gd name="connsiteY73" fmla="*/ 1481347 h 3286126"/>
                <a:gd name="connsiteX74" fmla="*/ 600075 w 795337"/>
                <a:gd name="connsiteY74" fmla="*/ 1820863 h 3286126"/>
                <a:gd name="connsiteX75" fmla="*/ 603372 w 795337"/>
                <a:gd name="connsiteY75" fmla="*/ 1656050 h 3286126"/>
                <a:gd name="connsiteX76" fmla="*/ 771525 w 795337"/>
                <a:gd name="connsiteY76" fmla="*/ 1346200 h 3286126"/>
                <a:gd name="connsiteX77" fmla="*/ 30163 w 795337"/>
                <a:gd name="connsiteY77" fmla="*/ 1300163 h 3286126"/>
                <a:gd name="connsiteX78" fmla="*/ 30163 w 795337"/>
                <a:gd name="connsiteY78" fmla="*/ 1573606 h 3286126"/>
                <a:gd name="connsiteX79" fmla="*/ 0 w 795337"/>
                <a:gd name="connsiteY79" fmla="*/ 1606551 h 3286126"/>
                <a:gd name="connsiteX80" fmla="*/ 0 w 795337"/>
                <a:gd name="connsiteY80" fmla="*/ 1329814 h 3286126"/>
                <a:gd name="connsiteX81" fmla="*/ 30163 w 795337"/>
                <a:gd name="connsiteY81" fmla="*/ 1300163 h 3286126"/>
                <a:gd name="connsiteX82" fmla="*/ 581025 w 795337"/>
                <a:gd name="connsiteY82" fmla="*/ 1265238 h 3286126"/>
                <a:gd name="connsiteX83" fmla="*/ 577723 w 795337"/>
                <a:gd name="connsiteY83" fmla="*/ 1436270 h 3286126"/>
                <a:gd name="connsiteX84" fmla="*/ 455549 w 795337"/>
                <a:gd name="connsiteY84" fmla="*/ 1623747 h 3286126"/>
                <a:gd name="connsiteX85" fmla="*/ 333375 w 795337"/>
                <a:gd name="connsiteY85" fmla="*/ 1814513 h 3286126"/>
                <a:gd name="connsiteX86" fmla="*/ 333375 w 795337"/>
                <a:gd name="connsiteY86" fmla="*/ 1597434 h 3286126"/>
                <a:gd name="connsiteX87" fmla="*/ 455549 w 795337"/>
                <a:gd name="connsiteY87" fmla="*/ 1429692 h 3286126"/>
                <a:gd name="connsiteX88" fmla="*/ 581025 w 795337"/>
                <a:gd name="connsiteY88" fmla="*/ 1265238 h 3286126"/>
                <a:gd name="connsiteX89" fmla="*/ 715962 w 795337"/>
                <a:gd name="connsiteY89" fmla="*/ 1260475 h 3286126"/>
                <a:gd name="connsiteX90" fmla="*/ 712660 w 795337"/>
                <a:gd name="connsiteY90" fmla="*/ 1405700 h 3286126"/>
                <a:gd name="connsiteX91" fmla="*/ 590486 w 795337"/>
                <a:gd name="connsiteY91" fmla="*/ 1626838 h 3286126"/>
                <a:gd name="connsiteX92" fmla="*/ 468312 w 795337"/>
                <a:gd name="connsiteY92" fmla="*/ 1844675 h 3286126"/>
                <a:gd name="connsiteX93" fmla="*/ 468312 w 795337"/>
                <a:gd name="connsiteY93" fmla="*/ 1653242 h 3286126"/>
                <a:gd name="connsiteX94" fmla="*/ 590486 w 795337"/>
                <a:gd name="connsiteY94" fmla="*/ 1455209 h 3286126"/>
                <a:gd name="connsiteX95" fmla="*/ 715962 w 795337"/>
                <a:gd name="connsiteY95" fmla="*/ 1260475 h 3286126"/>
                <a:gd name="connsiteX96" fmla="*/ 446087 w 795337"/>
                <a:gd name="connsiteY96" fmla="*/ 1189038 h 3286126"/>
                <a:gd name="connsiteX97" fmla="*/ 442785 w 795337"/>
                <a:gd name="connsiteY97" fmla="*/ 1382968 h 3286126"/>
                <a:gd name="connsiteX98" fmla="*/ 320611 w 795337"/>
                <a:gd name="connsiteY98" fmla="*/ 1544028 h 3286126"/>
                <a:gd name="connsiteX99" fmla="*/ 198437 w 795337"/>
                <a:gd name="connsiteY99" fmla="*/ 1701801 h 3286126"/>
                <a:gd name="connsiteX100" fmla="*/ 198437 w 795337"/>
                <a:gd name="connsiteY100" fmla="*/ 1461854 h 3286126"/>
                <a:gd name="connsiteX101" fmla="*/ 320611 w 795337"/>
                <a:gd name="connsiteY101" fmla="*/ 1323803 h 3286126"/>
                <a:gd name="connsiteX102" fmla="*/ 446087 w 795337"/>
                <a:gd name="connsiteY102" fmla="*/ 1189038 h 3286126"/>
                <a:gd name="connsiteX103" fmla="*/ 776288 w 795337"/>
                <a:gd name="connsiteY103" fmla="*/ 1165225 h 3286126"/>
                <a:gd name="connsiteX104" fmla="*/ 772954 w 795337"/>
                <a:gd name="connsiteY104" fmla="*/ 1301012 h 3286126"/>
                <a:gd name="connsiteX105" fmla="*/ 742950 w 795337"/>
                <a:gd name="connsiteY105" fmla="*/ 1357313 h 3286126"/>
                <a:gd name="connsiteX106" fmla="*/ 742950 w 795337"/>
                <a:gd name="connsiteY106" fmla="*/ 1214903 h 3286126"/>
                <a:gd name="connsiteX107" fmla="*/ 776288 w 795337"/>
                <a:gd name="connsiteY107" fmla="*/ 1165225 h 3286126"/>
                <a:gd name="connsiteX108" fmla="*/ 307975 w 795337"/>
                <a:gd name="connsiteY108" fmla="*/ 1060450 h 3286126"/>
                <a:gd name="connsiteX109" fmla="*/ 307975 w 795337"/>
                <a:gd name="connsiteY109" fmla="*/ 1281135 h 3286126"/>
                <a:gd name="connsiteX110" fmla="*/ 182499 w 795337"/>
                <a:gd name="connsiteY110" fmla="*/ 1412886 h 3286126"/>
                <a:gd name="connsiteX111" fmla="*/ 60325 w 795337"/>
                <a:gd name="connsiteY111" fmla="*/ 1544638 h 3286126"/>
                <a:gd name="connsiteX112" fmla="*/ 60325 w 795337"/>
                <a:gd name="connsiteY112" fmla="*/ 1277841 h 3286126"/>
                <a:gd name="connsiteX113" fmla="*/ 185801 w 795337"/>
                <a:gd name="connsiteY113" fmla="*/ 1169146 h 3286126"/>
                <a:gd name="connsiteX114" fmla="*/ 307975 w 795337"/>
                <a:gd name="connsiteY114" fmla="*/ 1060450 h 3286126"/>
                <a:gd name="connsiteX115" fmla="*/ 779462 w 795337"/>
                <a:gd name="connsiteY115" fmla="*/ 993775 h 3286126"/>
                <a:gd name="connsiteX116" fmla="*/ 776165 w 795337"/>
                <a:gd name="connsiteY116" fmla="*/ 1132126 h 3286126"/>
                <a:gd name="connsiteX117" fmla="*/ 608012 w 795337"/>
                <a:gd name="connsiteY117" fmla="*/ 1389063 h 3286126"/>
                <a:gd name="connsiteX118" fmla="*/ 608012 w 795337"/>
                <a:gd name="connsiteY118" fmla="*/ 1224360 h 3286126"/>
                <a:gd name="connsiteX119" fmla="*/ 779462 w 795337"/>
                <a:gd name="connsiteY119" fmla="*/ 993775 h 3286126"/>
                <a:gd name="connsiteX120" fmla="*/ 719137 w 795337"/>
                <a:gd name="connsiteY120" fmla="*/ 882650 h 3286126"/>
                <a:gd name="connsiteX121" fmla="*/ 719137 w 795337"/>
                <a:gd name="connsiteY121" fmla="*/ 1027304 h 3286126"/>
                <a:gd name="connsiteX122" fmla="*/ 593661 w 795337"/>
                <a:gd name="connsiteY122" fmla="*/ 1188396 h 3286126"/>
                <a:gd name="connsiteX123" fmla="*/ 471487 w 795337"/>
                <a:gd name="connsiteY123" fmla="*/ 1346200 h 3286126"/>
                <a:gd name="connsiteX124" fmla="*/ 471487 w 795337"/>
                <a:gd name="connsiteY124" fmla="*/ 1155520 h 3286126"/>
                <a:gd name="connsiteX125" fmla="*/ 596963 w 795337"/>
                <a:gd name="connsiteY125" fmla="*/ 1020729 h 3286126"/>
                <a:gd name="connsiteX126" fmla="*/ 719137 w 795337"/>
                <a:gd name="connsiteY126" fmla="*/ 882650 h 3286126"/>
                <a:gd name="connsiteX127" fmla="*/ 171450 w 795337"/>
                <a:gd name="connsiteY127" fmla="*/ 849313 h 3286126"/>
                <a:gd name="connsiteX128" fmla="*/ 168153 w 795337"/>
                <a:gd name="connsiteY128" fmla="*/ 1099816 h 3286126"/>
                <a:gd name="connsiteX129" fmla="*/ 0 w 795337"/>
                <a:gd name="connsiteY129" fmla="*/ 1238251 h 3286126"/>
                <a:gd name="connsiteX130" fmla="*/ 0 w 795337"/>
                <a:gd name="connsiteY130" fmla="*/ 958084 h 3286126"/>
                <a:gd name="connsiteX131" fmla="*/ 171450 w 795337"/>
                <a:gd name="connsiteY131" fmla="*/ 849313 h 3286126"/>
                <a:gd name="connsiteX132" fmla="*/ 584200 w 795337"/>
                <a:gd name="connsiteY132" fmla="*/ 820738 h 3286126"/>
                <a:gd name="connsiteX133" fmla="*/ 584200 w 795337"/>
                <a:gd name="connsiteY133" fmla="*/ 991510 h 3286126"/>
                <a:gd name="connsiteX134" fmla="*/ 458724 w 795337"/>
                <a:gd name="connsiteY134" fmla="*/ 1122873 h 3286126"/>
                <a:gd name="connsiteX135" fmla="*/ 336550 w 795337"/>
                <a:gd name="connsiteY135" fmla="*/ 1250951 h 3286126"/>
                <a:gd name="connsiteX136" fmla="*/ 336550 w 795337"/>
                <a:gd name="connsiteY136" fmla="*/ 1034203 h 3286126"/>
                <a:gd name="connsiteX137" fmla="*/ 458724 w 795337"/>
                <a:gd name="connsiteY137" fmla="*/ 929113 h 3286126"/>
                <a:gd name="connsiteX138" fmla="*/ 584200 w 795337"/>
                <a:gd name="connsiteY138" fmla="*/ 820738 h 3286126"/>
                <a:gd name="connsiteX139" fmla="*/ 782638 w 795337"/>
                <a:gd name="connsiteY139" fmla="*/ 815975 h 3286126"/>
                <a:gd name="connsiteX140" fmla="*/ 779319 w 795337"/>
                <a:gd name="connsiteY140" fmla="*/ 951063 h 3286126"/>
                <a:gd name="connsiteX141" fmla="*/ 746125 w 795337"/>
                <a:gd name="connsiteY141" fmla="*/ 990600 h 3286126"/>
                <a:gd name="connsiteX142" fmla="*/ 749444 w 795337"/>
                <a:gd name="connsiteY142" fmla="*/ 848923 h 3286126"/>
                <a:gd name="connsiteX143" fmla="*/ 782638 w 795337"/>
                <a:gd name="connsiteY143" fmla="*/ 815975 h 3286126"/>
                <a:gd name="connsiteX144" fmla="*/ 449262 w 795337"/>
                <a:gd name="connsiteY144" fmla="*/ 677863 h 3286126"/>
                <a:gd name="connsiteX145" fmla="*/ 445962 w 795337"/>
                <a:gd name="connsiteY145" fmla="*/ 872155 h 3286126"/>
                <a:gd name="connsiteX146" fmla="*/ 323849 w 795337"/>
                <a:gd name="connsiteY146" fmla="*/ 974241 h 3286126"/>
                <a:gd name="connsiteX147" fmla="*/ 198437 w 795337"/>
                <a:gd name="connsiteY147" fmla="*/ 1076326 h 3286126"/>
                <a:gd name="connsiteX148" fmla="*/ 198437 w 795337"/>
                <a:gd name="connsiteY148" fmla="*/ 832638 h 3286126"/>
                <a:gd name="connsiteX149" fmla="*/ 323849 w 795337"/>
                <a:gd name="connsiteY149" fmla="*/ 753604 h 3286126"/>
                <a:gd name="connsiteX150" fmla="*/ 449262 w 795337"/>
                <a:gd name="connsiteY150" fmla="*/ 677863 h 3286126"/>
                <a:gd name="connsiteX151" fmla="*/ 782637 w 795337"/>
                <a:gd name="connsiteY151" fmla="*/ 646113 h 3286126"/>
                <a:gd name="connsiteX152" fmla="*/ 782637 w 795337"/>
                <a:gd name="connsiteY152" fmla="*/ 781034 h 3286126"/>
                <a:gd name="connsiteX153" fmla="*/ 611187 w 795337"/>
                <a:gd name="connsiteY153" fmla="*/ 962026 h 3286126"/>
                <a:gd name="connsiteX154" fmla="*/ 614484 w 795337"/>
                <a:gd name="connsiteY154" fmla="*/ 794197 h 3286126"/>
                <a:gd name="connsiteX155" fmla="*/ 782637 w 795337"/>
                <a:gd name="connsiteY155" fmla="*/ 646113 h 3286126"/>
                <a:gd name="connsiteX156" fmla="*/ 33338 w 795337"/>
                <a:gd name="connsiteY156" fmla="*/ 595313 h 3286126"/>
                <a:gd name="connsiteX157" fmla="*/ 33338 w 795337"/>
                <a:gd name="connsiteY157" fmla="*/ 866019 h 3286126"/>
                <a:gd name="connsiteX158" fmla="*/ 0 w 795337"/>
                <a:gd name="connsiteY158" fmla="*/ 885826 h 3286126"/>
                <a:gd name="connsiteX159" fmla="*/ 0 w 795337"/>
                <a:gd name="connsiteY159" fmla="*/ 608518 h 3286126"/>
                <a:gd name="connsiteX160" fmla="*/ 33338 w 795337"/>
                <a:gd name="connsiteY160" fmla="*/ 595313 h 3286126"/>
                <a:gd name="connsiteX161" fmla="*/ 725487 w 795337"/>
                <a:gd name="connsiteY161" fmla="*/ 503238 h 3286126"/>
                <a:gd name="connsiteX162" fmla="*/ 722187 w 795337"/>
                <a:gd name="connsiteY162" fmla="*/ 648260 h 3286126"/>
                <a:gd name="connsiteX163" fmla="*/ 600075 w 795337"/>
                <a:gd name="connsiteY163" fmla="*/ 750435 h 3286126"/>
                <a:gd name="connsiteX164" fmla="*/ 474662 w 795337"/>
                <a:gd name="connsiteY164" fmla="*/ 849313 h 3286126"/>
                <a:gd name="connsiteX165" fmla="*/ 474662 w 795337"/>
                <a:gd name="connsiteY165" fmla="*/ 658148 h 3286126"/>
                <a:gd name="connsiteX166" fmla="*/ 600075 w 795337"/>
                <a:gd name="connsiteY166" fmla="*/ 582341 h 3286126"/>
                <a:gd name="connsiteX167" fmla="*/ 725487 w 795337"/>
                <a:gd name="connsiteY167" fmla="*/ 503238 h 3286126"/>
                <a:gd name="connsiteX168" fmla="*/ 311150 w 795337"/>
                <a:gd name="connsiteY168" fmla="*/ 484188 h 3286126"/>
                <a:gd name="connsiteX169" fmla="*/ 311150 w 795337"/>
                <a:gd name="connsiteY169" fmla="*/ 707868 h 3286126"/>
                <a:gd name="connsiteX170" fmla="*/ 185737 w 795337"/>
                <a:gd name="connsiteY170" fmla="*/ 780236 h 3286126"/>
                <a:gd name="connsiteX171" fmla="*/ 60325 w 795337"/>
                <a:gd name="connsiteY171" fmla="*/ 849313 h 3286126"/>
                <a:gd name="connsiteX172" fmla="*/ 60325 w 795337"/>
                <a:gd name="connsiteY172" fmla="*/ 582871 h 3286126"/>
                <a:gd name="connsiteX173" fmla="*/ 185737 w 795337"/>
                <a:gd name="connsiteY173" fmla="*/ 533529 h 3286126"/>
                <a:gd name="connsiteX174" fmla="*/ 311150 w 795337"/>
                <a:gd name="connsiteY174" fmla="*/ 484188 h 3286126"/>
                <a:gd name="connsiteX175" fmla="*/ 785813 w 795337"/>
                <a:gd name="connsiteY175" fmla="*/ 463550 h 3286126"/>
                <a:gd name="connsiteX176" fmla="*/ 785813 w 795337"/>
                <a:gd name="connsiteY176" fmla="*/ 599038 h 3286126"/>
                <a:gd name="connsiteX177" fmla="*/ 752475 w 795337"/>
                <a:gd name="connsiteY177" fmla="*/ 625475 h 3286126"/>
                <a:gd name="connsiteX178" fmla="*/ 755809 w 795337"/>
                <a:gd name="connsiteY178" fmla="*/ 486682 h 3286126"/>
                <a:gd name="connsiteX179" fmla="*/ 785813 w 795337"/>
                <a:gd name="connsiteY179" fmla="*/ 463550 h 3286126"/>
                <a:gd name="connsiteX180" fmla="*/ 587375 w 795337"/>
                <a:gd name="connsiteY180" fmla="*/ 374650 h 3286126"/>
                <a:gd name="connsiteX181" fmla="*/ 587375 w 795337"/>
                <a:gd name="connsiteY181" fmla="*/ 546629 h 3286126"/>
                <a:gd name="connsiteX182" fmla="*/ 461963 w 795337"/>
                <a:gd name="connsiteY182" fmla="*/ 619390 h 3286126"/>
                <a:gd name="connsiteX183" fmla="*/ 336550 w 795337"/>
                <a:gd name="connsiteY183" fmla="*/ 692150 h 3286126"/>
                <a:gd name="connsiteX184" fmla="*/ 339850 w 795337"/>
                <a:gd name="connsiteY184" fmla="*/ 473869 h 3286126"/>
                <a:gd name="connsiteX185" fmla="*/ 465263 w 795337"/>
                <a:gd name="connsiteY185" fmla="*/ 424260 h 3286126"/>
                <a:gd name="connsiteX186" fmla="*/ 587375 w 795337"/>
                <a:gd name="connsiteY186" fmla="*/ 374650 h 3286126"/>
                <a:gd name="connsiteX187" fmla="*/ 788987 w 795337"/>
                <a:gd name="connsiteY187" fmla="*/ 296863 h 3286126"/>
                <a:gd name="connsiteX188" fmla="*/ 785690 w 795337"/>
                <a:gd name="connsiteY188" fmla="*/ 431622 h 3286126"/>
                <a:gd name="connsiteX189" fmla="*/ 617537 w 795337"/>
                <a:gd name="connsiteY189" fmla="*/ 530226 h 3286126"/>
                <a:gd name="connsiteX190" fmla="*/ 617537 w 795337"/>
                <a:gd name="connsiteY190" fmla="*/ 362599 h 3286126"/>
                <a:gd name="connsiteX191" fmla="*/ 788987 w 795337"/>
                <a:gd name="connsiteY191" fmla="*/ 296863 h 3286126"/>
                <a:gd name="connsiteX192" fmla="*/ 171450 w 795337"/>
                <a:gd name="connsiteY192" fmla="*/ 211138 h 3286126"/>
                <a:gd name="connsiteX193" fmla="*/ 171450 w 795337"/>
                <a:gd name="connsiteY193" fmla="*/ 458323 h 3286126"/>
                <a:gd name="connsiteX194" fmla="*/ 0 w 795337"/>
                <a:gd name="connsiteY194" fmla="*/ 514351 h 3286126"/>
                <a:gd name="connsiteX195" fmla="*/ 0 w 795337"/>
                <a:gd name="connsiteY195" fmla="*/ 237504 h 3286126"/>
                <a:gd name="connsiteX196" fmla="*/ 171450 w 795337"/>
                <a:gd name="connsiteY196" fmla="*/ 211138 h 3286126"/>
                <a:gd name="connsiteX197" fmla="*/ 452437 w 795337"/>
                <a:gd name="connsiteY197" fmla="*/ 168275 h 3286126"/>
                <a:gd name="connsiteX198" fmla="*/ 449138 w 795337"/>
                <a:gd name="connsiteY198" fmla="*/ 365499 h 3286126"/>
                <a:gd name="connsiteX199" fmla="*/ 323788 w 795337"/>
                <a:gd name="connsiteY199" fmla="*/ 404943 h 3286126"/>
                <a:gd name="connsiteX200" fmla="*/ 198437 w 795337"/>
                <a:gd name="connsiteY200" fmla="*/ 447675 h 3286126"/>
                <a:gd name="connsiteX201" fmla="*/ 201736 w 795337"/>
                <a:gd name="connsiteY201" fmla="*/ 207720 h 3286126"/>
                <a:gd name="connsiteX202" fmla="*/ 327086 w 795337"/>
                <a:gd name="connsiteY202" fmla="*/ 187997 h 3286126"/>
                <a:gd name="connsiteX203" fmla="*/ 452437 w 795337"/>
                <a:gd name="connsiteY203" fmla="*/ 168275 h 3286126"/>
                <a:gd name="connsiteX204" fmla="*/ 733425 w 795337"/>
                <a:gd name="connsiteY204" fmla="*/ 125413 h 3286126"/>
                <a:gd name="connsiteX205" fmla="*/ 730126 w 795337"/>
                <a:gd name="connsiteY205" fmla="*/ 270103 h 3286126"/>
                <a:gd name="connsiteX206" fmla="*/ 604776 w 795337"/>
                <a:gd name="connsiteY206" fmla="*/ 312852 h 3286126"/>
                <a:gd name="connsiteX207" fmla="*/ 479425 w 795337"/>
                <a:gd name="connsiteY207" fmla="*/ 355601 h 3286126"/>
                <a:gd name="connsiteX208" fmla="*/ 479425 w 795337"/>
                <a:gd name="connsiteY208" fmla="*/ 164874 h 3286126"/>
                <a:gd name="connsiteX209" fmla="*/ 604776 w 795337"/>
                <a:gd name="connsiteY209" fmla="*/ 145144 h 3286126"/>
                <a:gd name="connsiteX210" fmla="*/ 733425 w 795337"/>
                <a:gd name="connsiteY210" fmla="*/ 125413 h 3286126"/>
                <a:gd name="connsiteX211" fmla="*/ 792163 w 795337"/>
                <a:gd name="connsiteY211" fmla="*/ 115888 h 3286126"/>
                <a:gd name="connsiteX212" fmla="*/ 788829 w 795337"/>
                <a:gd name="connsiteY212" fmla="*/ 250501 h 3286126"/>
                <a:gd name="connsiteX213" fmla="*/ 758825 w 795337"/>
                <a:gd name="connsiteY213" fmla="*/ 260351 h 3286126"/>
                <a:gd name="connsiteX214" fmla="*/ 758825 w 795337"/>
                <a:gd name="connsiteY214" fmla="*/ 122455 h 3286126"/>
                <a:gd name="connsiteX215" fmla="*/ 792163 w 795337"/>
                <a:gd name="connsiteY215" fmla="*/ 115888 h 3286126"/>
                <a:gd name="connsiteX216" fmla="*/ 620712 w 795337"/>
                <a:gd name="connsiteY216" fmla="*/ 0 h 3286126"/>
                <a:gd name="connsiteX217" fmla="*/ 795337 w 795337"/>
                <a:gd name="connsiteY217" fmla="*/ 0 h 3286126"/>
                <a:gd name="connsiteX218" fmla="*/ 792042 w 795337"/>
                <a:gd name="connsiteY218" fmla="*/ 78740 h 3286126"/>
                <a:gd name="connsiteX219" fmla="*/ 620712 w 795337"/>
                <a:gd name="connsiteY219" fmla="*/ 98425 h 3286126"/>
                <a:gd name="connsiteX220" fmla="*/ 620712 w 795337"/>
                <a:gd name="connsiteY220" fmla="*/ 0 h 3286126"/>
                <a:gd name="connsiteX221" fmla="*/ 339725 w 795337"/>
                <a:gd name="connsiteY221" fmla="*/ 0 h 3286126"/>
                <a:gd name="connsiteX222" fmla="*/ 465076 w 795337"/>
                <a:gd name="connsiteY222" fmla="*/ 0 h 3286126"/>
                <a:gd name="connsiteX223" fmla="*/ 593725 w 795337"/>
                <a:gd name="connsiteY223" fmla="*/ 0 h 3286126"/>
                <a:gd name="connsiteX224" fmla="*/ 590426 w 795337"/>
                <a:gd name="connsiteY224" fmla="*/ 102211 h 3286126"/>
                <a:gd name="connsiteX225" fmla="*/ 465076 w 795337"/>
                <a:gd name="connsiteY225" fmla="*/ 115400 h 3286126"/>
                <a:gd name="connsiteX226" fmla="*/ 339725 w 795337"/>
                <a:gd name="connsiteY226" fmla="*/ 128588 h 3286126"/>
                <a:gd name="connsiteX227" fmla="*/ 339725 w 795337"/>
                <a:gd name="connsiteY227" fmla="*/ 0 h 3286126"/>
                <a:gd name="connsiteX228" fmla="*/ 60325 w 795337"/>
                <a:gd name="connsiteY228" fmla="*/ 0 h 3286126"/>
                <a:gd name="connsiteX229" fmla="*/ 185676 w 795337"/>
                <a:gd name="connsiteY229" fmla="*/ 0 h 3286126"/>
                <a:gd name="connsiteX230" fmla="*/ 314325 w 795337"/>
                <a:gd name="connsiteY230" fmla="*/ 0 h 3286126"/>
                <a:gd name="connsiteX231" fmla="*/ 311026 w 795337"/>
                <a:gd name="connsiteY231" fmla="*/ 132292 h 3286126"/>
                <a:gd name="connsiteX232" fmla="*/ 185676 w 795337"/>
                <a:gd name="connsiteY232" fmla="*/ 145521 h 3286126"/>
                <a:gd name="connsiteX233" fmla="*/ 60325 w 795337"/>
                <a:gd name="connsiteY233" fmla="*/ 158750 h 3286126"/>
                <a:gd name="connsiteX234" fmla="*/ 60325 w 795337"/>
                <a:gd name="connsiteY234" fmla="*/ 0 h 3286126"/>
                <a:gd name="connsiteX235" fmla="*/ 0 w 795337"/>
                <a:gd name="connsiteY235" fmla="*/ 0 h 3286126"/>
                <a:gd name="connsiteX236" fmla="*/ 33338 w 795337"/>
                <a:gd name="connsiteY236" fmla="*/ 0 h 3286126"/>
                <a:gd name="connsiteX237" fmla="*/ 33338 w 795337"/>
                <a:gd name="connsiteY237" fmla="*/ 161798 h 3286126"/>
                <a:gd name="connsiteX238" fmla="*/ 0 w 795337"/>
                <a:gd name="connsiteY238" fmla="*/ 165100 h 3286126"/>
                <a:gd name="connsiteX239" fmla="*/ 0 w 795337"/>
                <a:gd name="connsiteY239" fmla="*/ 0 h 3286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795337" h="3286126">
                  <a:moveTo>
                    <a:pt x="165100" y="2773363"/>
                  </a:moveTo>
                  <a:cubicBezTo>
                    <a:pt x="165100" y="2822667"/>
                    <a:pt x="165100" y="2871972"/>
                    <a:pt x="165100" y="2921276"/>
                  </a:cubicBezTo>
                  <a:cubicBezTo>
                    <a:pt x="108966" y="3042893"/>
                    <a:pt x="56134" y="3164509"/>
                    <a:pt x="0" y="3286126"/>
                  </a:cubicBezTo>
                  <a:cubicBezTo>
                    <a:pt x="0" y="3230248"/>
                    <a:pt x="0" y="3177657"/>
                    <a:pt x="0" y="3121779"/>
                  </a:cubicBezTo>
                  <a:cubicBezTo>
                    <a:pt x="56134" y="3006736"/>
                    <a:pt x="112268" y="2888406"/>
                    <a:pt x="165100" y="2773363"/>
                  </a:cubicBezTo>
                  <a:close/>
                  <a:moveTo>
                    <a:pt x="30163" y="2713038"/>
                  </a:moveTo>
                  <a:cubicBezTo>
                    <a:pt x="30163" y="2802125"/>
                    <a:pt x="30163" y="2894511"/>
                    <a:pt x="30163" y="2986898"/>
                  </a:cubicBezTo>
                  <a:cubicBezTo>
                    <a:pt x="20109" y="3006695"/>
                    <a:pt x="10054" y="3029791"/>
                    <a:pt x="0" y="3049588"/>
                  </a:cubicBezTo>
                  <a:cubicBezTo>
                    <a:pt x="0" y="2957202"/>
                    <a:pt x="0" y="2864816"/>
                    <a:pt x="0" y="2772429"/>
                  </a:cubicBezTo>
                  <a:cubicBezTo>
                    <a:pt x="10054" y="2752632"/>
                    <a:pt x="20109" y="2732835"/>
                    <a:pt x="30163" y="2713038"/>
                  </a:cubicBezTo>
                  <a:close/>
                  <a:moveTo>
                    <a:pt x="303213" y="2209800"/>
                  </a:moveTo>
                  <a:cubicBezTo>
                    <a:pt x="303213" y="2285505"/>
                    <a:pt x="303213" y="2357918"/>
                    <a:pt x="303213" y="2433623"/>
                  </a:cubicBezTo>
                  <a:cubicBezTo>
                    <a:pt x="260543" y="2515911"/>
                    <a:pt x="221156" y="2598199"/>
                    <a:pt x="181769" y="2680487"/>
                  </a:cubicBezTo>
                  <a:cubicBezTo>
                    <a:pt x="139099" y="2762775"/>
                    <a:pt x="99712" y="2845062"/>
                    <a:pt x="60325" y="2927350"/>
                  </a:cubicBezTo>
                  <a:cubicBezTo>
                    <a:pt x="60325" y="2838479"/>
                    <a:pt x="60325" y="2749608"/>
                    <a:pt x="60325" y="2660738"/>
                  </a:cubicBezTo>
                  <a:cubicBezTo>
                    <a:pt x="99712" y="2588324"/>
                    <a:pt x="139099" y="2512620"/>
                    <a:pt x="181769" y="2436915"/>
                  </a:cubicBezTo>
                  <a:cubicBezTo>
                    <a:pt x="221156" y="2361210"/>
                    <a:pt x="263826" y="2285505"/>
                    <a:pt x="303213" y="2209800"/>
                  </a:cubicBezTo>
                  <a:close/>
                  <a:moveTo>
                    <a:pt x="439737" y="2206625"/>
                  </a:moveTo>
                  <a:cubicBezTo>
                    <a:pt x="439737" y="2246072"/>
                    <a:pt x="439737" y="2285519"/>
                    <a:pt x="436433" y="2324966"/>
                  </a:cubicBezTo>
                  <a:cubicBezTo>
                    <a:pt x="396789" y="2413722"/>
                    <a:pt x="357144" y="2502478"/>
                    <a:pt x="317499" y="2591233"/>
                  </a:cubicBezTo>
                  <a:cubicBezTo>
                    <a:pt x="274551" y="2679989"/>
                    <a:pt x="234907" y="2768745"/>
                    <a:pt x="195262" y="2857500"/>
                  </a:cubicBezTo>
                  <a:cubicBezTo>
                    <a:pt x="195262" y="2808192"/>
                    <a:pt x="195262" y="2762170"/>
                    <a:pt x="195262" y="2712861"/>
                  </a:cubicBezTo>
                  <a:cubicBezTo>
                    <a:pt x="234907" y="2630680"/>
                    <a:pt x="274551" y="2545212"/>
                    <a:pt x="317499" y="2459743"/>
                  </a:cubicBezTo>
                  <a:cubicBezTo>
                    <a:pt x="357144" y="2377562"/>
                    <a:pt x="396789" y="2292094"/>
                    <a:pt x="439737" y="2206625"/>
                  </a:cubicBezTo>
                  <a:close/>
                  <a:moveTo>
                    <a:pt x="168275" y="2133600"/>
                  </a:moveTo>
                  <a:cubicBezTo>
                    <a:pt x="168275" y="2215862"/>
                    <a:pt x="168275" y="2298123"/>
                    <a:pt x="168275" y="2380384"/>
                  </a:cubicBezTo>
                  <a:cubicBezTo>
                    <a:pt x="112183" y="2479098"/>
                    <a:pt x="56092" y="2577812"/>
                    <a:pt x="0" y="2676525"/>
                  </a:cubicBezTo>
                  <a:cubicBezTo>
                    <a:pt x="0" y="2584393"/>
                    <a:pt x="0" y="2492260"/>
                    <a:pt x="0" y="2400127"/>
                  </a:cubicBezTo>
                  <a:cubicBezTo>
                    <a:pt x="56092" y="2311285"/>
                    <a:pt x="112183" y="2222443"/>
                    <a:pt x="168275" y="2133600"/>
                  </a:cubicBezTo>
                  <a:close/>
                  <a:moveTo>
                    <a:pt x="30163" y="2008188"/>
                  </a:moveTo>
                  <a:cubicBezTo>
                    <a:pt x="30163" y="2097448"/>
                    <a:pt x="30163" y="2190014"/>
                    <a:pt x="30163" y="2279274"/>
                  </a:cubicBezTo>
                  <a:cubicBezTo>
                    <a:pt x="20109" y="2295804"/>
                    <a:pt x="10054" y="2312334"/>
                    <a:pt x="0" y="2328863"/>
                  </a:cubicBezTo>
                  <a:cubicBezTo>
                    <a:pt x="0" y="2236297"/>
                    <a:pt x="0" y="2143731"/>
                    <a:pt x="0" y="2051165"/>
                  </a:cubicBezTo>
                  <a:cubicBezTo>
                    <a:pt x="10054" y="2034636"/>
                    <a:pt x="20109" y="2021412"/>
                    <a:pt x="30163" y="2008188"/>
                  </a:cubicBezTo>
                  <a:close/>
                  <a:moveTo>
                    <a:pt x="577850" y="1709738"/>
                  </a:moveTo>
                  <a:cubicBezTo>
                    <a:pt x="574548" y="1765717"/>
                    <a:pt x="574548" y="1821696"/>
                    <a:pt x="574548" y="1877675"/>
                  </a:cubicBezTo>
                  <a:cubicBezTo>
                    <a:pt x="534924" y="1963290"/>
                    <a:pt x="491998" y="2045613"/>
                    <a:pt x="452374" y="2127935"/>
                  </a:cubicBezTo>
                  <a:cubicBezTo>
                    <a:pt x="412750" y="2210257"/>
                    <a:pt x="369824" y="2292579"/>
                    <a:pt x="330200" y="2374901"/>
                  </a:cubicBezTo>
                  <a:cubicBezTo>
                    <a:pt x="330200" y="2302458"/>
                    <a:pt x="330200" y="2233307"/>
                    <a:pt x="330200" y="2160864"/>
                  </a:cubicBezTo>
                  <a:cubicBezTo>
                    <a:pt x="373126" y="2085127"/>
                    <a:pt x="412750" y="2009391"/>
                    <a:pt x="452374" y="1933654"/>
                  </a:cubicBezTo>
                  <a:cubicBezTo>
                    <a:pt x="495300" y="1857918"/>
                    <a:pt x="534924" y="1782182"/>
                    <a:pt x="577850" y="1709738"/>
                  </a:cubicBezTo>
                  <a:close/>
                  <a:moveTo>
                    <a:pt x="442912" y="1695450"/>
                  </a:moveTo>
                  <a:cubicBezTo>
                    <a:pt x="442912" y="1761431"/>
                    <a:pt x="439610" y="1827411"/>
                    <a:pt x="439610" y="1893392"/>
                  </a:cubicBezTo>
                  <a:cubicBezTo>
                    <a:pt x="399986" y="1965970"/>
                    <a:pt x="360362" y="2038549"/>
                    <a:pt x="317436" y="2111128"/>
                  </a:cubicBezTo>
                  <a:cubicBezTo>
                    <a:pt x="277812" y="2183706"/>
                    <a:pt x="234886" y="2256285"/>
                    <a:pt x="195262" y="2328863"/>
                  </a:cubicBezTo>
                  <a:cubicBezTo>
                    <a:pt x="195262" y="2249687"/>
                    <a:pt x="195262" y="2167211"/>
                    <a:pt x="195262" y="2088034"/>
                  </a:cubicBezTo>
                  <a:cubicBezTo>
                    <a:pt x="238188" y="2022054"/>
                    <a:pt x="277812" y="1956073"/>
                    <a:pt x="317436" y="1893392"/>
                  </a:cubicBezTo>
                  <a:cubicBezTo>
                    <a:pt x="360362" y="1827411"/>
                    <a:pt x="399986" y="1761431"/>
                    <a:pt x="442912" y="1695450"/>
                  </a:cubicBezTo>
                  <a:close/>
                  <a:moveTo>
                    <a:pt x="709612" y="1639888"/>
                  </a:moveTo>
                  <a:cubicBezTo>
                    <a:pt x="709612" y="1669522"/>
                    <a:pt x="709612" y="1699155"/>
                    <a:pt x="709612" y="1725496"/>
                  </a:cubicBezTo>
                  <a:cubicBezTo>
                    <a:pt x="666664" y="1814396"/>
                    <a:pt x="627019" y="1906588"/>
                    <a:pt x="587375" y="1995488"/>
                  </a:cubicBezTo>
                  <a:cubicBezTo>
                    <a:pt x="544426" y="2084388"/>
                    <a:pt x="504782" y="2173288"/>
                    <a:pt x="465137" y="2262188"/>
                  </a:cubicBezTo>
                  <a:cubicBezTo>
                    <a:pt x="465137" y="2222677"/>
                    <a:pt x="465137" y="2186459"/>
                    <a:pt x="465137" y="2146947"/>
                  </a:cubicBezTo>
                  <a:cubicBezTo>
                    <a:pt x="504782" y="2064633"/>
                    <a:pt x="547730" y="1979025"/>
                    <a:pt x="587375" y="1893418"/>
                  </a:cubicBezTo>
                  <a:cubicBezTo>
                    <a:pt x="627019" y="1807810"/>
                    <a:pt x="669967" y="1725496"/>
                    <a:pt x="709612" y="1639888"/>
                  </a:cubicBezTo>
                  <a:close/>
                  <a:moveTo>
                    <a:pt x="307975" y="1636713"/>
                  </a:moveTo>
                  <a:cubicBezTo>
                    <a:pt x="307975" y="1709058"/>
                    <a:pt x="304673" y="1784691"/>
                    <a:pt x="304673" y="1857036"/>
                  </a:cubicBezTo>
                  <a:cubicBezTo>
                    <a:pt x="265049" y="1919515"/>
                    <a:pt x="222123" y="1981995"/>
                    <a:pt x="182499" y="2047763"/>
                  </a:cubicBezTo>
                  <a:cubicBezTo>
                    <a:pt x="142875" y="2110242"/>
                    <a:pt x="99949" y="2172722"/>
                    <a:pt x="60325" y="2235201"/>
                  </a:cubicBezTo>
                  <a:cubicBezTo>
                    <a:pt x="60325" y="2146415"/>
                    <a:pt x="60325" y="2057628"/>
                    <a:pt x="60325" y="1968841"/>
                  </a:cubicBezTo>
                  <a:cubicBezTo>
                    <a:pt x="99949" y="1912938"/>
                    <a:pt x="142875" y="1857036"/>
                    <a:pt x="182499" y="1801133"/>
                  </a:cubicBezTo>
                  <a:cubicBezTo>
                    <a:pt x="225425" y="1748519"/>
                    <a:pt x="265049" y="1692616"/>
                    <a:pt x="307975" y="1636713"/>
                  </a:cubicBezTo>
                  <a:close/>
                  <a:moveTo>
                    <a:pt x="768350" y="1514475"/>
                  </a:moveTo>
                  <a:cubicBezTo>
                    <a:pt x="768350" y="1544293"/>
                    <a:pt x="768350" y="1570797"/>
                    <a:pt x="768350" y="1597301"/>
                  </a:cubicBezTo>
                  <a:cubicBezTo>
                    <a:pt x="755650" y="1620493"/>
                    <a:pt x="746125" y="1643684"/>
                    <a:pt x="736600" y="1666875"/>
                  </a:cubicBezTo>
                  <a:cubicBezTo>
                    <a:pt x="736600" y="1637058"/>
                    <a:pt x="736600" y="1610554"/>
                    <a:pt x="736600" y="1580736"/>
                  </a:cubicBezTo>
                  <a:cubicBezTo>
                    <a:pt x="749300" y="1560858"/>
                    <a:pt x="758825" y="1537667"/>
                    <a:pt x="768350" y="1514475"/>
                  </a:cubicBezTo>
                  <a:close/>
                  <a:moveTo>
                    <a:pt x="168275" y="1492250"/>
                  </a:moveTo>
                  <a:cubicBezTo>
                    <a:pt x="168275" y="1574440"/>
                    <a:pt x="168275" y="1656630"/>
                    <a:pt x="168275" y="1738819"/>
                  </a:cubicBezTo>
                  <a:cubicBezTo>
                    <a:pt x="112183" y="1811146"/>
                    <a:pt x="56092" y="1883473"/>
                    <a:pt x="0" y="1955800"/>
                  </a:cubicBezTo>
                  <a:cubicBezTo>
                    <a:pt x="0" y="1863748"/>
                    <a:pt x="0" y="1771695"/>
                    <a:pt x="0" y="1679643"/>
                  </a:cubicBezTo>
                  <a:cubicBezTo>
                    <a:pt x="56092" y="1617179"/>
                    <a:pt x="112183" y="1554714"/>
                    <a:pt x="168275" y="1492250"/>
                  </a:cubicBezTo>
                  <a:close/>
                  <a:moveTo>
                    <a:pt x="771525" y="1346200"/>
                  </a:moveTo>
                  <a:cubicBezTo>
                    <a:pt x="771525" y="1389052"/>
                    <a:pt x="768228" y="1435200"/>
                    <a:pt x="768228" y="1481347"/>
                  </a:cubicBezTo>
                  <a:cubicBezTo>
                    <a:pt x="712177" y="1593421"/>
                    <a:pt x="656126" y="1708790"/>
                    <a:pt x="600075" y="1820863"/>
                  </a:cubicBezTo>
                  <a:cubicBezTo>
                    <a:pt x="603372" y="1764827"/>
                    <a:pt x="603372" y="1712086"/>
                    <a:pt x="603372" y="1656050"/>
                  </a:cubicBezTo>
                  <a:cubicBezTo>
                    <a:pt x="659423" y="1553865"/>
                    <a:pt x="715474" y="1448385"/>
                    <a:pt x="771525" y="1346200"/>
                  </a:cubicBezTo>
                  <a:close/>
                  <a:moveTo>
                    <a:pt x="30163" y="1300163"/>
                  </a:moveTo>
                  <a:cubicBezTo>
                    <a:pt x="30163" y="1392409"/>
                    <a:pt x="30163" y="1481360"/>
                    <a:pt x="30163" y="1573606"/>
                  </a:cubicBezTo>
                  <a:cubicBezTo>
                    <a:pt x="20109" y="1583490"/>
                    <a:pt x="10054" y="1596668"/>
                    <a:pt x="0" y="1606551"/>
                  </a:cubicBezTo>
                  <a:cubicBezTo>
                    <a:pt x="0" y="1514305"/>
                    <a:pt x="0" y="1422060"/>
                    <a:pt x="0" y="1329814"/>
                  </a:cubicBezTo>
                  <a:cubicBezTo>
                    <a:pt x="10054" y="1319930"/>
                    <a:pt x="20109" y="1310047"/>
                    <a:pt x="30163" y="1300163"/>
                  </a:cubicBezTo>
                  <a:close/>
                  <a:moveTo>
                    <a:pt x="581025" y="1265238"/>
                  </a:moveTo>
                  <a:cubicBezTo>
                    <a:pt x="581025" y="1321152"/>
                    <a:pt x="581025" y="1377067"/>
                    <a:pt x="577723" y="1436270"/>
                  </a:cubicBezTo>
                  <a:cubicBezTo>
                    <a:pt x="538099" y="1498762"/>
                    <a:pt x="495173" y="1561255"/>
                    <a:pt x="455549" y="1623747"/>
                  </a:cubicBezTo>
                  <a:cubicBezTo>
                    <a:pt x="415925" y="1686239"/>
                    <a:pt x="372999" y="1752021"/>
                    <a:pt x="333375" y="1814513"/>
                  </a:cubicBezTo>
                  <a:cubicBezTo>
                    <a:pt x="333375" y="1742154"/>
                    <a:pt x="333375" y="1669794"/>
                    <a:pt x="333375" y="1597434"/>
                  </a:cubicBezTo>
                  <a:cubicBezTo>
                    <a:pt x="376301" y="1541520"/>
                    <a:pt x="415925" y="1485606"/>
                    <a:pt x="455549" y="1429692"/>
                  </a:cubicBezTo>
                  <a:cubicBezTo>
                    <a:pt x="498475" y="1373778"/>
                    <a:pt x="538099" y="1321152"/>
                    <a:pt x="581025" y="1265238"/>
                  </a:cubicBezTo>
                  <a:close/>
                  <a:moveTo>
                    <a:pt x="715962" y="1260475"/>
                  </a:moveTo>
                  <a:cubicBezTo>
                    <a:pt x="712660" y="1309984"/>
                    <a:pt x="712660" y="1356192"/>
                    <a:pt x="712660" y="1405700"/>
                  </a:cubicBezTo>
                  <a:cubicBezTo>
                    <a:pt x="673036" y="1478313"/>
                    <a:pt x="630110" y="1554226"/>
                    <a:pt x="590486" y="1626838"/>
                  </a:cubicBezTo>
                  <a:cubicBezTo>
                    <a:pt x="550862" y="1699450"/>
                    <a:pt x="507936" y="1772063"/>
                    <a:pt x="468312" y="1844675"/>
                  </a:cubicBezTo>
                  <a:cubicBezTo>
                    <a:pt x="468312" y="1778664"/>
                    <a:pt x="468312" y="1715953"/>
                    <a:pt x="468312" y="1653242"/>
                  </a:cubicBezTo>
                  <a:cubicBezTo>
                    <a:pt x="511238" y="1587231"/>
                    <a:pt x="550862" y="1521220"/>
                    <a:pt x="590486" y="1455209"/>
                  </a:cubicBezTo>
                  <a:cubicBezTo>
                    <a:pt x="633412" y="1392498"/>
                    <a:pt x="673036" y="1326487"/>
                    <a:pt x="715962" y="1260475"/>
                  </a:cubicBezTo>
                  <a:close/>
                  <a:moveTo>
                    <a:pt x="446087" y="1189038"/>
                  </a:moveTo>
                  <a:cubicBezTo>
                    <a:pt x="446087" y="1251490"/>
                    <a:pt x="442785" y="1317229"/>
                    <a:pt x="442785" y="1382968"/>
                  </a:cubicBezTo>
                  <a:cubicBezTo>
                    <a:pt x="403161" y="1435559"/>
                    <a:pt x="360235" y="1488150"/>
                    <a:pt x="320611" y="1544028"/>
                  </a:cubicBezTo>
                  <a:cubicBezTo>
                    <a:pt x="277685" y="1596619"/>
                    <a:pt x="238061" y="1649210"/>
                    <a:pt x="198437" y="1701801"/>
                  </a:cubicBezTo>
                  <a:cubicBezTo>
                    <a:pt x="198437" y="1619628"/>
                    <a:pt x="198437" y="1540741"/>
                    <a:pt x="198437" y="1461854"/>
                  </a:cubicBezTo>
                  <a:cubicBezTo>
                    <a:pt x="238061" y="1415837"/>
                    <a:pt x="280987" y="1369820"/>
                    <a:pt x="320611" y="1323803"/>
                  </a:cubicBezTo>
                  <a:cubicBezTo>
                    <a:pt x="363537" y="1277786"/>
                    <a:pt x="403161" y="1231768"/>
                    <a:pt x="446087" y="1189038"/>
                  </a:cubicBezTo>
                  <a:close/>
                  <a:moveTo>
                    <a:pt x="776288" y="1165225"/>
                  </a:moveTo>
                  <a:cubicBezTo>
                    <a:pt x="776288" y="1211591"/>
                    <a:pt x="772954" y="1254646"/>
                    <a:pt x="772954" y="1301012"/>
                  </a:cubicBezTo>
                  <a:cubicBezTo>
                    <a:pt x="762953" y="1320883"/>
                    <a:pt x="752951" y="1337442"/>
                    <a:pt x="742950" y="1357313"/>
                  </a:cubicBezTo>
                  <a:cubicBezTo>
                    <a:pt x="742950" y="1310947"/>
                    <a:pt x="742950" y="1264581"/>
                    <a:pt x="742950" y="1214903"/>
                  </a:cubicBezTo>
                  <a:cubicBezTo>
                    <a:pt x="752951" y="1198344"/>
                    <a:pt x="766287" y="1181785"/>
                    <a:pt x="776288" y="1165225"/>
                  </a:cubicBezTo>
                  <a:close/>
                  <a:moveTo>
                    <a:pt x="307975" y="1060450"/>
                  </a:moveTo>
                  <a:cubicBezTo>
                    <a:pt x="307975" y="1132914"/>
                    <a:pt x="307975" y="1208671"/>
                    <a:pt x="307975" y="1281135"/>
                  </a:cubicBezTo>
                  <a:cubicBezTo>
                    <a:pt x="268351" y="1327248"/>
                    <a:pt x="225425" y="1370067"/>
                    <a:pt x="182499" y="1412886"/>
                  </a:cubicBezTo>
                  <a:cubicBezTo>
                    <a:pt x="142875" y="1455706"/>
                    <a:pt x="99949" y="1501819"/>
                    <a:pt x="60325" y="1544638"/>
                  </a:cubicBezTo>
                  <a:cubicBezTo>
                    <a:pt x="60325" y="1455706"/>
                    <a:pt x="60325" y="1366773"/>
                    <a:pt x="60325" y="1277841"/>
                  </a:cubicBezTo>
                  <a:cubicBezTo>
                    <a:pt x="103251" y="1241609"/>
                    <a:pt x="142875" y="1205377"/>
                    <a:pt x="185801" y="1169146"/>
                  </a:cubicBezTo>
                  <a:cubicBezTo>
                    <a:pt x="225425" y="1132914"/>
                    <a:pt x="268351" y="1096682"/>
                    <a:pt x="307975" y="1060450"/>
                  </a:cubicBezTo>
                  <a:close/>
                  <a:moveTo>
                    <a:pt x="779462" y="993775"/>
                  </a:moveTo>
                  <a:cubicBezTo>
                    <a:pt x="776165" y="1039892"/>
                    <a:pt x="776165" y="1086009"/>
                    <a:pt x="776165" y="1132126"/>
                  </a:cubicBezTo>
                  <a:cubicBezTo>
                    <a:pt x="720114" y="1217772"/>
                    <a:pt x="664063" y="1303418"/>
                    <a:pt x="608012" y="1389063"/>
                  </a:cubicBezTo>
                  <a:cubicBezTo>
                    <a:pt x="608012" y="1336358"/>
                    <a:pt x="608012" y="1280359"/>
                    <a:pt x="608012" y="1224360"/>
                  </a:cubicBezTo>
                  <a:cubicBezTo>
                    <a:pt x="664063" y="1148596"/>
                    <a:pt x="723411" y="1072833"/>
                    <a:pt x="779462" y="993775"/>
                  </a:cubicBezTo>
                  <a:close/>
                  <a:moveTo>
                    <a:pt x="719137" y="882650"/>
                  </a:moveTo>
                  <a:cubicBezTo>
                    <a:pt x="719137" y="931964"/>
                    <a:pt x="719137" y="977990"/>
                    <a:pt x="719137" y="1027304"/>
                  </a:cubicBezTo>
                  <a:cubicBezTo>
                    <a:pt x="676211" y="1079906"/>
                    <a:pt x="636587" y="1132507"/>
                    <a:pt x="593661" y="1188396"/>
                  </a:cubicBezTo>
                  <a:cubicBezTo>
                    <a:pt x="554037" y="1240997"/>
                    <a:pt x="511111" y="1293599"/>
                    <a:pt x="471487" y="1346200"/>
                  </a:cubicBezTo>
                  <a:cubicBezTo>
                    <a:pt x="471487" y="1283736"/>
                    <a:pt x="471487" y="1217984"/>
                    <a:pt x="471487" y="1155520"/>
                  </a:cubicBezTo>
                  <a:cubicBezTo>
                    <a:pt x="514413" y="1109494"/>
                    <a:pt x="554037" y="1063468"/>
                    <a:pt x="596963" y="1020729"/>
                  </a:cubicBezTo>
                  <a:cubicBezTo>
                    <a:pt x="636587" y="974703"/>
                    <a:pt x="679513" y="928676"/>
                    <a:pt x="719137" y="882650"/>
                  </a:cubicBezTo>
                  <a:close/>
                  <a:moveTo>
                    <a:pt x="171450" y="849313"/>
                  </a:moveTo>
                  <a:cubicBezTo>
                    <a:pt x="171450" y="935011"/>
                    <a:pt x="168153" y="1014117"/>
                    <a:pt x="168153" y="1099816"/>
                  </a:cubicBezTo>
                  <a:cubicBezTo>
                    <a:pt x="112102" y="1145961"/>
                    <a:pt x="56051" y="1192106"/>
                    <a:pt x="0" y="1238251"/>
                  </a:cubicBezTo>
                  <a:cubicBezTo>
                    <a:pt x="0" y="1142665"/>
                    <a:pt x="0" y="1050374"/>
                    <a:pt x="0" y="958084"/>
                  </a:cubicBezTo>
                  <a:cubicBezTo>
                    <a:pt x="56051" y="921827"/>
                    <a:pt x="112102" y="885570"/>
                    <a:pt x="171450" y="849313"/>
                  </a:cubicBezTo>
                  <a:close/>
                  <a:moveTo>
                    <a:pt x="584200" y="820738"/>
                  </a:moveTo>
                  <a:cubicBezTo>
                    <a:pt x="584200" y="876567"/>
                    <a:pt x="584200" y="932397"/>
                    <a:pt x="584200" y="991510"/>
                  </a:cubicBezTo>
                  <a:cubicBezTo>
                    <a:pt x="541274" y="1034203"/>
                    <a:pt x="501650" y="1076896"/>
                    <a:pt x="458724" y="1122873"/>
                  </a:cubicBezTo>
                  <a:cubicBezTo>
                    <a:pt x="419100" y="1165565"/>
                    <a:pt x="376174" y="1208258"/>
                    <a:pt x="336550" y="1250951"/>
                  </a:cubicBezTo>
                  <a:cubicBezTo>
                    <a:pt x="336550" y="1178702"/>
                    <a:pt x="336550" y="1106452"/>
                    <a:pt x="336550" y="1034203"/>
                  </a:cubicBezTo>
                  <a:cubicBezTo>
                    <a:pt x="376174" y="998078"/>
                    <a:pt x="419100" y="965237"/>
                    <a:pt x="458724" y="929113"/>
                  </a:cubicBezTo>
                  <a:cubicBezTo>
                    <a:pt x="501650" y="892988"/>
                    <a:pt x="544576" y="856863"/>
                    <a:pt x="584200" y="820738"/>
                  </a:cubicBezTo>
                  <a:close/>
                  <a:moveTo>
                    <a:pt x="782638" y="815975"/>
                  </a:moveTo>
                  <a:cubicBezTo>
                    <a:pt x="779319" y="858808"/>
                    <a:pt x="779319" y="904935"/>
                    <a:pt x="779319" y="951063"/>
                  </a:cubicBezTo>
                  <a:cubicBezTo>
                    <a:pt x="769361" y="964242"/>
                    <a:pt x="756083" y="977421"/>
                    <a:pt x="746125" y="990600"/>
                  </a:cubicBezTo>
                  <a:cubicBezTo>
                    <a:pt x="746125" y="944473"/>
                    <a:pt x="749444" y="898346"/>
                    <a:pt x="749444" y="848923"/>
                  </a:cubicBezTo>
                  <a:cubicBezTo>
                    <a:pt x="759402" y="839039"/>
                    <a:pt x="769361" y="825860"/>
                    <a:pt x="782638" y="815975"/>
                  </a:cubicBezTo>
                  <a:close/>
                  <a:moveTo>
                    <a:pt x="449262" y="677863"/>
                  </a:moveTo>
                  <a:cubicBezTo>
                    <a:pt x="449262" y="743725"/>
                    <a:pt x="445962" y="809587"/>
                    <a:pt x="445962" y="872155"/>
                  </a:cubicBezTo>
                  <a:cubicBezTo>
                    <a:pt x="406358" y="908379"/>
                    <a:pt x="363453" y="941310"/>
                    <a:pt x="323849" y="974241"/>
                  </a:cubicBezTo>
                  <a:cubicBezTo>
                    <a:pt x="280945" y="1007171"/>
                    <a:pt x="241341" y="1040102"/>
                    <a:pt x="198437" y="1076326"/>
                  </a:cubicBezTo>
                  <a:cubicBezTo>
                    <a:pt x="198437" y="993999"/>
                    <a:pt x="198437" y="914965"/>
                    <a:pt x="198437" y="832638"/>
                  </a:cubicBezTo>
                  <a:cubicBezTo>
                    <a:pt x="241341" y="806293"/>
                    <a:pt x="280945" y="779949"/>
                    <a:pt x="323849" y="753604"/>
                  </a:cubicBezTo>
                  <a:cubicBezTo>
                    <a:pt x="366754" y="730553"/>
                    <a:pt x="406358" y="704208"/>
                    <a:pt x="449262" y="677863"/>
                  </a:cubicBezTo>
                  <a:close/>
                  <a:moveTo>
                    <a:pt x="782637" y="646113"/>
                  </a:moveTo>
                  <a:cubicBezTo>
                    <a:pt x="782637" y="692184"/>
                    <a:pt x="782637" y="734964"/>
                    <a:pt x="782637" y="781034"/>
                  </a:cubicBezTo>
                  <a:cubicBezTo>
                    <a:pt x="726586" y="840268"/>
                    <a:pt x="667238" y="902793"/>
                    <a:pt x="611187" y="962026"/>
                  </a:cubicBezTo>
                  <a:cubicBezTo>
                    <a:pt x="611187" y="906083"/>
                    <a:pt x="614484" y="850140"/>
                    <a:pt x="614484" y="794197"/>
                  </a:cubicBezTo>
                  <a:cubicBezTo>
                    <a:pt x="670535" y="744836"/>
                    <a:pt x="726586" y="695475"/>
                    <a:pt x="782637" y="646113"/>
                  </a:cubicBezTo>
                  <a:close/>
                  <a:moveTo>
                    <a:pt x="33338" y="595313"/>
                  </a:moveTo>
                  <a:cubicBezTo>
                    <a:pt x="33338" y="684448"/>
                    <a:pt x="33338" y="776884"/>
                    <a:pt x="33338" y="866019"/>
                  </a:cubicBezTo>
                  <a:cubicBezTo>
                    <a:pt x="20003" y="872621"/>
                    <a:pt x="10001" y="879224"/>
                    <a:pt x="0" y="885826"/>
                  </a:cubicBezTo>
                  <a:cubicBezTo>
                    <a:pt x="0" y="793390"/>
                    <a:pt x="0" y="700954"/>
                    <a:pt x="0" y="608518"/>
                  </a:cubicBezTo>
                  <a:cubicBezTo>
                    <a:pt x="10001" y="601916"/>
                    <a:pt x="20003" y="598614"/>
                    <a:pt x="33338" y="595313"/>
                  </a:cubicBezTo>
                  <a:close/>
                  <a:moveTo>
                    <a:pt x="725487" y="503238"/>
                  </a:moveTo>
                  <a:cubicBezTo>
                    <a:pt x="725487" y="552677"/>
                    <a:pt x="725487" y="598821"/>
                    <a:pt x="722187" y="648260"/>
                  </a:cubicBezTo>
                  <a:cubicBezTo>
                    <a:pt x="682583" y="681220"/>
                    <a:pt x="639678" y="717475"/>
                    <a:pt x="600075" y="750435"/>
                  </a:cubicBezTo>
                  <a:cubicBezTo>
                    <a:pt x="557170" y="783394"/>
                    <a:pt x="517566" y="816354"/>
                    <a:pt x="474662" y="849313"/>
                  </a:cubicBezTo>
                  <a:cubicBezTo>
                    <a:pt x="474662" y="786690"/>
                    <a:pt x="474662" y="724067"/>
                    <a:pt x="474662" y="658148"/>
                  </a:cubicBezTo>
                  <a:cubicBezTo>
                    <a:pt x="517566" y="631780"/>
                    <a:pt x="560471" y="608709"/>
                    <a:pt x="600075" y="582341"/>
                  </a:cubicBezTo>
                  <a:cubicBezTo>
                    <a:pt x="642979" y="555973"/>
                    <a:pt x="682583" y="529606"/>
                    <a:pt x="725487" y="503238"/>
                  </a:cubicBezTo>
                  <a:close/>
                  <a:moveTo>
                    <a:pt x="311150" y="484188"/>
                  </a:moveTo>
                  <a:cubicBezTo>
                    <a:pt x="311150" y="559845"/>
                    <a:pt x="311150" y="632212"/>
                    <a:pt x="311150" y="707868"/>
                  </a:cubicBezTo>
                  <a:cubicBezTo>
                    <a:pt x="268246" y="730894"/>
                    <a:pt x="225341" y="753920"/>
                    <a:pt x="185737" y="780236"/>
                  </a:cubicBezTo>
                  <a:cubicBezTo>
                    <a:pt x="142833" y="803261"/>
                    <a:pt x="103229" y="826287"/>
                    <a:pt x="60325" y="849313"/>
                  </a:cubicBezTo>
                  <a:cubicBezTo>
                    <a:pt x="60325" y="760499"/>
                    <a:pt x="60325" y="671685"/>
                    <a:pt x="60325" y="582871"/>
                  </a:cubicBezTo>
                  <a:cubicBezTo>
                    <a:pt x="103229" y="566423"/>
                    <a:pt x="142833" y="549976"/>
                    <a:pt x="185737" y="533529"/>
                  </a:cubicBezTo>
                  <a:cubicBezTo>
                    <a:pt x="228642" y="517082"/>
                    <a:pt x="268246" y="500635"/>
                    <a:pt x="311150" y="484188"/>
                  </a:cubicBezTo>
                  <a:close/>
                  <a:moveTo>
                    <a:pt x="785813" y="463550"/>
                  </a:moveTo>
                  <a:cubicBezTo>
                    <a:pt x="785813" y="509814"/>
                    <a:pt x="785813" y="556079"/>
                    <a:pt x="785813" y="599038"/>
                  </a:cubicBezTo>
                  <a:cubicBezTo>
                    <a:pt x="772478" y="608952"/>
                    <a:pt x="762476" y="618866"/>
                    <a:pt x="752475" y="625475"/>
                  </a:cubicBezTo>
                  <a:cubicBezTo>
                    <a:pt x="752475" y="579211"/>
                    <a:pt x="752475" y="532947"/>
                    <a:pt x="755809" y="486682"/>
                  </a:cubicBezTo>
                  <a:cubicBezTo>
                    <a:pt x="765810" y="476768"/>
                    <a:pt x="775812" y="470159"/>
                    <a:pt x="785813" y="463550"/>
                  </a:cubicBezTo>
                  <a:close/>
                  <a:moveTo>
                    <a:pt x="587375" y="374650"/>
                  </a:moveTo>
                  <a:cubicBezTo>
                    <a:pt x="587375" y="430874"/>
                    <a:pt x="587375" y="487098"/>
                    <a:pt x="587375" y="546629"/>
                  </a:cubicBezTo>
                  <a:cubicBezTo>
                    <a:pt x="544471" y="569780"/>
                    <a:pt x="504867" y="592931"/>
                    <a:pt x="461963" y="619390"/>
                  </a:cubicBezTo>
                  <a:cubicBezTo>
                    <a:pt x="422359" y="642541"/>
                    <a:pt x="379454" y="665692"/>
                    <a:pt x="336550" y="692150"/>
                  </a:cubicBezTo>
                  <a:cubicBezTo>
                    <a:pt x="336550" y="619390"/>
                    <a:pt x="339850" y="546629"/>
                    <a:pt x="339850" y="473869"/>
                  </a:cubicBezTo>
                  <a:cubicBezTo>
                    <a:pt x="379454" y="457332"/>
                    <a:pt x="422359" y="440796"/>
                    <a:pt x="465263" y="424260"/>
                  </a:cubicBezTo>
                  <a:cubicBezTo>
                    <a:pt x="504867" y="407723"/>
                    <a:pt x="547771" y="391187"/>
                    <a:pt x="587375" y="374650"/>
                  </a:cubicBezTo>
                  <a:close/>
                  <a:moveTo>
                    <a:pt x="788987" y="296863"/>
                  </a:moveTo>
                  <a:cubicBezTo>
                    <a:pt x="788987" y="339592"/>
                    <a:pt x="788987" y="385607"/>
                    <a:pt x="785690" y="431622"/>
                  </a:cubicBezTo>
                  <a:cubicBezTo>
                    <a:pt x="729639" y="464490"/>
                    <a:pt x="673588" y="497358"/>
                    <a:pt x="617537" y="530226"/>
                  </a:cubicBezTo>
                  <a:cubicBezTo>
                    <a:pt x="617537" y="474350"/>
                    <a:pt x="617537" y="418475"/>
                    <a:pt x="617537" y="362599"/>
                  </a:cubicBezTo>
                  <a:cubicBezTo>
                    <a:pt x="673588" y="339592"/>
                    <a:pt x="732936" y="319871"/>
                    <a:pt x="788987" y="296863"/>
                  </a:cubicBezTo>
                  <a:close/>
                  <a:moveTo>
                    <a:pt x="171450" y="211138"/>
                  </a:moveTo>
                  <a:cubicBezTo>
                    <a:pt x="171450" y="293533"/>
                    <a:pt x="171450" y="375928"/>
                    <a:pt x="171450" y="458323"/>
                  </a:cubicBezTo>
                  <a:cubicBezTo>
                    <a:pt x="112102" y="478097"/>
                    <a:pt x="56051" y="497872"/>
                    <a:pt x="0" y="514351"/>
                  </a:cubicBezTo>
                  <a:cubicBezTo>
                    <a:pt x="0" y="422069"/>
                    <a:pt x="0" y="329787"/>
                    <a:pt x="0" y="237504"/>
                  </a:cubicBezTo>
                  <a:cubicBezTo>
                    <a:pt x="56051" y="227617"/>
                    <a:pt x="115399" y="221026"/>
                    <a:pt x="171450" y="211138"/>
                  </a:cubicBezTo>
                  <a:close/>
                  <a:moveTo>
                    <a:pt x="452437" y="168275"/>
                  </a:moveTo>
                  <a:cubicBezTo>
                    <a:pt x="452437" y="234016"/>
                    <a:pt x="452437" y="299757"/>
                    <a:pt x="449138" y="365499"/>
                  </a:cubicBezTo>
                  <a:cubicBezTo>
                    <a:pt x="409554" y="378647"/>
                    <a:pt x="366671" y="391795"/>
                    <a:pt x="323788" y="404943"/>
                  </a:cubicBezTo>
                  <a:cubicBezTo>
                    <a:pt x="284203" y="421379"/>
                    <a:pt x="241320" y="434527"/>
                    <a:pt x="198437" y="447675"/>
                  </a:cubicBezTo>
                  <a:cubicBezTo>
                    <a:pt x="201736" y="365499"/>
                    <a:pt x="201736" y="286609"/>
                    <a:pt x="201736" y="207720"/>
                  </a:cubicBezTo>
                  <a:cubicBezTo>
                    <a:pt x="241320" y="201146"/>
                    <a:pt x="284203" y="194572"/>
                    <a:pt x="327086" y="187997"/>
                  </a:cubicBezTo>
                  <a:cubicBezTo>
                    <a:pt x="366671" y="181423"/>
                    <a:pt x="409554" y="174849"/>
                    <a:pt x="452437" y="168275"/>
                  </a:cubicBezTo>
                  <a:close/>
                  <a:moveTo>
                    <a:pt x="733425" y="125413"/>
                  </a:moveTo>
                  <a:cubicBezTo>
                    <a:pt x="730126" y="174739"/>
                    <a:pt x="730126" y="220777"/>
                    <a:pt x="730126" y="270103"/>
                  </a:cubicBezTo>
                  <a:cubicBezTo>
                    <a:pt x="687243" y="283256"/>
                    <a:pt x="647659" y="299698"/>
                    <a:pt x="604776" y="312852"/>
                  </a:cubicBezTo>
                  <a:cubicBezTo>
                    <a:pt x="561893" y="326006"/>
                    <a:pt x="522308" y="339159"/>
                    <a:pt x="479425" y="355601"/>
                  </a:cubicBezTo>
                  <a:cubicBezTo>
                    <a:pt x="479425" y="289833"/>
                    <a:pt x="479425" y="227354"/>
                    <a:pt x="479425" y="164874"/>
                  </a:cubicBezTo>
                  <a:cubicBezTo>
                    <a:pt x="522308" y="158297"/>
                    <a:pt x="565191" y="151720"/>
                    <a:pt x="604776" y="145144"/>
                  </a:cubicBezTo>
                  <a:cubicBezTo>
                    <a:pt x="647659" y="138567"/>
                    <a:pt x="690542" y="131990"/>
                    <a:pt x="733425" y="125413"/>
                  </a:cubicBezTo>
                  <a:close/>
                  <a:moveTo>
                    <a:pt x="792163" y="115888"/>
                  </a:moveTo>
                  <a:cubicBezTo>
                    <a:pt x="792163" y="161854"/>
                    <a:pt x="792163" y="204536"/>
                    <a:pt x="788829" y="250501"/>
                  </a:cubicBezTo>
                  <a:cubicBezTo>
                    <a:pt x="778828" y="253785"/>
                    <a:pt x="768826" y="257068"/>
                    <a:pt x="758825" y="260351"/>
                  </a:cubicBezTo>
                  <a:cubicBezTo>
                    <a:pt x="758825" y="214386"/>
                    <a:pt x="758825" y="168420"/>
                    <a:pt x="758825" y="122455"/>
                  </a:cubicBezTo>
                  <a:cubicBezTo>
                    <a:pt x="772160" y="119171"/>
                    <a:pt x="782162" y="119171"/>
                    <a:pt x="792163" y="115888"/>
                  </a:cubicBezTo>
                  <a:close/>
                  <a:moveTo>
                    <a:pt x="620712" y="0"/>
                  </a:moveTo>
                  <a:cubicBezTo>
                    <a:pt x="680019" y="0"/>
                    <a:pt x="736030" y="0"/>
                    <a:pt x="795337" y="0"/>
                  </a:cubicBezTo>
                  <a:cubicBezTo>
                    <a:pt x="795337" y="26247"/>
                    <a:pt x="792042" y="52493"/>
                    <a:pt x="792042" y="78740"/>
                  </a:cubicBezTo>
                  <a:cubicBezTo>
                    <a:pt x="736030" y="85302"/>
                    <a:pt x="676724" y="91863"/>
                    <a:pt x="620712" y="98425"/>
                  </a:cubicBezTo>
                  <a:cubicBezTo>
                    <a:pt x="620712" y="65617"/>
                    <a:pt x="620712" y="32808"/>
                    <a:pt x="620712" y="0"/>
                  </a:cubicBezTo>
                  <a:close/>
                  <a:moveTo>
                    <a:pt x="339725" y="0"/>
                  </a:moveTo>
                  <a:cubicBezTo>
                    <a:pt x="382608" y="0"/>
                    <a:pt x="425491" y="0"/>
                    <a:pt x="465076" y="0"/>
                  </a:cubicBezTo>
                  <a:cubicBezTo>
                    <a:pt x="507959" y="0"/>
                    <a:pt x="550842" y="0"/>
                    <a:pt x="593725" y="0"/>
                  </a:cubicBezTo>
                  <a:cubicBezTo>
                    <a:pt x="593725" y="32971"/>
                    <a:pt x="590426" y="69240"/>
                    <a:pt x="590426" y="102211"/>
                  </a:cubicBezTo>
                  <a:cubicBezTo>
                    <a:pt x="550842" y="105508"/>
                    <a:pt x="507959" y="112102"/>
                    <a:pt x="465076" y="115400"/>
                  </a:cubicBezTo>
                  <a:cubicBezTo>
                    <a:pt x="422193" y="118697"/>
                    <a:pt x="382608" y="125291"/>
                    <a:pt x="339725" y="128588"/>
                  </a:cubicBezTo>
                  <a:cubicBezTo>
                    <a:pt x="339725" y="85725"/>
                    <a:pt x="339725" y="42863"/>
                    <a:pt x="339725" y="0"/>
                  </a:cubicBezTo>
                  <a:close/>
                  <a:moveTo>
                    <a:pt x="60325" y="0"/>
                  </a:moveTo>
                  <a:cubicBezTo>
                    <a:pt x="103208" y="0"/>
                    <a:pt x="146091" y="0"/>
                    <a:pt x="185676" y="0"/>
                  </a:cubicBezTo>
                  <a:cubicBezTo>
                    <a:pt x="228559" y="0"/>
                    <a:pt x="271442" y="0"/>
                    <a:pt x="314325" y="0"/>
                  </a:cubicBezTo>
                  <a:cubicBezTo>
                    <a:pt x="314325" y="42995"/>
                    <a:pt x="311026" y="89297"/>
                    <a:pt x="311026" y="132292"/>
                  </a:cubicBezTo>
                  <a:cubicBezTo>
                    <a:pt x="271442" y="135599"/>
                    <a:pt x="228559" y="142214"/>
                    <a:pt x="185676" y="145521"/>
                  </a:cubicBezTo>
                  <a:cubicBezTo>
                    <a:pt x="146091" y="148828"/>
                    <a:pt x="103208" y="155443"/>
                    <a:pt x="60325" y="158750"/>
                  </a:cubicBezTo>
                  <a:cubicBezTo>
                    <a:pt x="60325" y="105833"/>
                    <a:pt x="60325" y="52917"/>
                    <a:pt x="60325" y="0"/>
                  </a:cubicBezTo>
                  <a:close/>
                  <a:moveTo>
                    <a:pt x="0" y="0"/>
                  </a:moveTo>
                  <a:cubicBezTo>
                    <a:pt x="10001" y="0"/>
                    <a:pt x="20003" y="0"/>
                    <a:pt x="33338" y="0"/>
                  </a:cubicBezTo>
                  <a:cubicBezTo>
                    <a:pt x="33338" y="52832"/>
                    <a:pt x="33338" y="108966"/>
                    <a:pt x="33338" y="161798"/>
                  </a:cubicBezTo>
                  <a:cubicBezTo>
                    <a:pt x="20003" y="161798"/>
                    <a:pt x="10001" y="165100"/>
                    <a:pt x="0" y="165100"/>
                  </a:cubicBezTo>
                  <a:cubicBezTo>
                    <a:pt x="0" y="108966"/>
                    <a:pt x="0" y="56134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/>
            <p:cNvSpPr/>
            <p:nvPr/>
          </p:nvSpPr>
          <p:spPr bwMode="auto">
            <a:xfrm>
              <a:off x="6190334" y="3732878"/>
              <a:ext cx="2414238" cy="2410740"/>
            </a:xfrm>
            <a:custGeom>
              <a:avLst/>
              <a:gdLst>
                <a:gd name="T0" fmla="*/ 241 w 998"/>
                <a:gd name="T1" fmla="*/ 0 h 998"/>
                <a:gd name="T2" fmla="*/ 998 w 998"/>
                <a:gd name="T3" fmla="*/ 0 h 998"/>
                <a:gd name="T4" fmla="*/ 998 w 998"/>
                <a:gd name="T5" fmla="*/ 998 h 998"/>
                <a:gd name="T6" fmla="*/ 0 w 998"/>
                <a:gd name="T7" fmla="*/ 998 h 998"/>
                <a:gd name="T8" fmla="*/ 0 w 998"/>
                <a:gd name="T9" fmla="*/ 242 h 998"/>
                <a:gd name="T10" fmla="*/ 241 w 998"/>
                <a:gd name="T11" fmla="*/ 0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8" h="998">
                  <a:moveTo>
                    <a:pt x="241" y="0"/>
                  </a:moveTo>
                  <a:cubicBezTo>
                    <a:pt x="998" y="0"/>
                    <a:pt x="998" y="0"/>
                    <a:pt x="998" y="0"/>
                  </a:cubicBezTo>
                  <a:cubicBezTo>
                    <a:pt x="998" y="998"/>
                    <a:pt x="998" y="998"/>
                    <a:pt x="998" y="998"/>
                  </a:cubicBezTo>
                  <a:cubicBezTo>
                    <a:pt x="0" y="998"/>
                    <a:pt x="0" y="998"/>
                    <a:pt x="0" y="998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25" y="224"/>
                    <a:pt x="224" y="125"/>
                    <a:pt x="241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26" name="任意多边形: 形状 25"/>
            <p:cNvSpPr/>
            <p:nvPr/>
          </p:nvSpPr>
          <p:spPr bwMode="auto">
            <a:xfrm>
              <a:off x="6410446" y="3955318"/>
              <a:ext cx="1971687" cy="1968187"/>
            </a:xfrm>
            <a:custGeom>
              <a:avLst/>
              <a:gdLst>
                <a:gd name="T0" fmla="*/ 404 w 815"/>
                <a:gd name="T1" fmla="*/ 0 h 815"/>
                <a:gd name="T2" fmla="*/ 815 w 815"/>
                <a:gd name="T3" fmla="*/ 0 h 815"/>
                <a:gd name="T4" fmla="*/ 815 w 815"/>
                <a:gd name="T5" fmla="*/ 815 h 815"/>
                <a:gd name="T6" fmla="*/ 0 w 815"/>
                <a:gd name="T7" fmla="*/ 815 h 815"/>
                <a:gd name="T8" fmla="*/ 0 w 815"/>
                <a:gd name="T9" fmla="*/ 404 h 815"/>
                <a:gd name="T10" fmla="*/ 404 w 815"/>
                <a:gd name="T11" fmla="*/ 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" h="815">
                  <a:moveTo>
                    <a:pt x="404" y="0"/>
                  </a:moveTo>
                  <a:cubicBezTo>
                    <a:pt x="815" y="0"/>
                    <a:pt x="815" y="0"/>
                    <a:pt x="815" y="0"/>
                  </a:cubicBezTo>
                  <a:cubicBezTo>
                    <a:pt x="815" y="815"/>
                    <a:pt x="815" y="815"/>
                    <a:pt x="815" y="815"/>
                  </a:cubicBezTo>
                  <a:cubicBezTo>
                    <a:pt x="0" y="815"/>
                    <a:pt x="0" y="815"/>
                    <a:pt x="0" y="815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199" y="355"/>
                    <a:pt x="356" y="199"/>
                    <a:pt x="404" y="0"/>
                  </a:cubicBezTo>
                  <a:close/>
                </a:path>
              </a:pathLst>
            </a:custGeom>
            <a:solidFill>
              <a:schemeClr val="bg1">
                <a:alpha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pic>
        <p:nvPicPr>
          <p:cNvPr id="32" name="图片 31">
            <a:extLst>
              <a:ext uri="{FF2B5EF4-FFF2-40B4-BE49-F238E27FC236}">
                <a16:creationId xmlns:a16="http://schemas.microsoft.com/office/drawing/2014/main" id="{03FFA3B6-A5FE-AA10-35F1-BC9D6BE096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283" b="93038" l="9916" r="89662">
                        <a14:foregroundMark x1="73629" y1="51899" x2="74262" y2="52321"/>
                        <a14:foregroundMark x1="47046" y1="10549" x2="47468" y2="9283"/>
                        <a14:foregroundMark x1="45148" y1="88397" x2="54641" y2="89451"/>
                        <a14:foregroundMark x1="47679" y1="92827" x2="50633" y2="930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109" y="1737230"/>
            <a:ext cx="808796" cy="808796"/>
          </a:xfrm>
          <a:prstGeom prst="rect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:a16="http://schemas.microsoft.com/office/drawing/2014/main" id="{5BBC54EC-9617-0F83-A53C-7A7E0BED3F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4093" y1="10135" x2="49578" y2="10811"/>
                        <a14:foregroundMark x1="50000" y1="10811" x2="54219" y2="14527"/>
                        <a14:foregroundMark x1="42194" y1="87162" x2="51688" y2="88851"/>
                        <a14:foregroundMark x1="44304" y1="87500" x2="51688" y2="88176"/>
                        <a14:foregroundMark x1="43460" y1="88176" x2="51899" y2="88176"/>
                        <a14:foregroundMark x1="46624" y1="89189" x2="42194" y2="8716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243" y="1645736"/>
            <a:ext cx="1545790" cy="965303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:a16="http://schemas.microsoft.com/office/drawing/2014/main" id="{3FCD715B-DB28-7635-F4A8-D863AB1FBB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460" b="91935" l="4008" r="93249">
                        <a14:foregroundMark x1="28481" y1="25202" x2="28481" y2="25202"/>
                        <a14:foregroundMark x1="36076" y1="24597" x2="36076" y2="24597"/>
                        <a14:foregroundMark x1="38608" y1="21371" x2="78270" y2="44758"/>
                        <a14:foregroundMark x1="64135" y1="27621" x2="36920" y2="50403"/>
                        <a14:foregroundMark x1="50422" y1="22581" x2="29747" y2="49798"/>
                        <a14:foregroundMark x1="54219" y1="17944" x2="29325" y2="52016"/>
                        <a14:foregroundMark x1="43882" y1="22379" x2="31013" y2="43145"/>
                        <a14:foregroundMark x1="44726" y1="18750" x2="21730" y2="44758"/>
                        <a14:foregroundMark x1="35443" y1="19556" x2="20253" y2="34476"/>
                        <a14:foregroundMark x1="37975" y1="13508" x2="17722" y2="34073"/>
                        <a14:foregroundMark x1="34177" y1="13508" x2="13924" y2="35282"/>
                        <a14:foregroundMark x1="30380" y1="14315" x2="17511" y2="31048"/>
                        <a14:foregroundMark x1="17932" y1="34274" x2="16245" y2="44153"/>
                        <a14:foregroundMark x1="12869" y1="36895" x2="17511" y2="56855"/>
                        <a14:foregroundMark x1="12447" y1="41129" x2="22574" y2="64718"/>
                        <a14:foregroundMark x1="12658" y1="41532" x2="17932" y2="60484"/>
                        <a14:foregroundMark x1="10970" y1="43548" x2="15401" y2="60887"/>
                        <a14:foregroundMark x1="7806" y1="44153" x2="10970" y2="65927"/>
                        <a14:foregroundMark x1="7595" y1="37298" x2="13291" y2="66331"/>
                        <a14:foregroundMark x1="7806" y1="39113" x2="29114" y2="16129"/>
                        <a14:foregroundMark x1="30169" y1="17944" x2="53165" y2="14718"/>
                        <a14:foregroundMark x1="56540" y1="19556" x2="62447" y2="34274"/>
                        <a14:foregroundMark x1="52954" y1="20363" x2="56329" y2="45766"/>
                        <a14:foregroundMark x1="58861" y1="25202" x2="60970" y2="54637"/>
                        <a14:foregroundMark x1="67300" y1="31048" x2="66878" y2="59677"/>
                        <a14:foregroundMark x1="71730" y1="44556" x2="70675" y2="59274"/>
                        <a14:foregroundMark x1="66878" y1="37702" x2="59916" y2="54032"/>
                        <a14:foregroundMark x1="64557" y1="43952" x2="66667" y2="32661"/>
                        <a14:foregroundMark x1="63924" y1="37903" x2="64557" y2="28226"/>
                        <a14:foregroundMark x1="65401" y1="31452" x2="69620" y2="22581"/>
                        <a14:foregroundMark x1="59283" y1="28226" x2="77637" y2="25403"/>
                        <a14:foregroundMark x1="67722" y1="19960" x2="79114" y2="30847"/>
                        <a14:foregroundMark x1="71097" y1="19153" x2="79325" y2="40927"/>
                        <a14:foregroundMark x1="79114" y1="27823" x2="82489" y2="46976"/>
                        <a14:foregroundMark x1="82278" y1="34274" x2="84177" y2="46371"/>
                        <a14:foregroundMark x1="85021" y1="35484" x2="85865" y2="56653"/>
                        <a14:foregroundMark x1="86709" y1="44758" x2="83966" y2="61895"/>
                        <a14:foregroundMark x1="89451" y1="49798" x2="81013" y2="67137"/>
                        <a14:foregroundMark x1="81224" y1="62097" x2="73418" y2="78831"/>
                        <a14:foregroundMark x1="81435" y1="60282" x2="70886" y2="75605"/>
                        <a14:foregroundMark x1="77848" y1="63306" x2="63291" y2="77621"/>
                        <a14:foregroundMark x1="74262" y1="67944" x2="60549" y2="83871"/>
                        <a14:foregroundMark x1="71941" y1="70766" x2="58861" y2="79234"/>
                        <a14:foregroundMark x1="68143" y1="71774" x2="52954" y2="80645"/>
                        <a14:foregroundMark x1="60970" y1="69556" x2="55485" y2="78831"/>
                        <a14:foregroundMark x1="61392" y1="66935" x2="57173" y2="78629"/>
                        <a14:foregroundMark x1="56540" y1="58266" x2="50211" y2="74798"/>
                        <a14:foregroundMark x1="46203" y1="56048" x2="42194" y2="76411"/>
                        <a14:foregroundMark x1="45359" y1="45363" x2="45148" y2="62903"/>
                        <a14:foregroundMark x1="30802" y1="39113" x2="28692" y2="58871"/>
                        <a14:foregroundMark x1="32911" y1="33266" x2="19620" y2="64516"/>
                        <a14:foregroundMark x1="27215" y1="35282" x2="21308" y2="45766"/>
                        <a14:foregroundMark x1="26371" y1="32661" x2="21941" y2="40323"/>
                        <a14:foregroundMark x1="19198" y1="60282" x2="27848" y2="71774"/>
                        <a14:foregroundMark x1="36709" y1="44153" x2="30802" y2="58669"/>
                        <a14:foregroundMark x1="35654" y1="50605" x2="30591" y2="64718"/>
                        <a14:foregroundMark x1="34599" y1="53024" x2="36709" y2="66331"/>
                        <a14:foregroundMark x1="26582" y1="56452" x2="33966" y2="68145"/>
                        <a14:foregroundMark x1="26582" y1="60685" x2="33122" y2="73589"/>
                        <a14:foregroundMark x1="19620" y1="58669" x2="26582" y2="71371"/>
                        <a14:foregroundMark x1="17511" y1="58468" x2="23207" y2="71169"/>
                        <a14:foregroundMark x1="12869" y1="63306" x2="24895" y2="76008"/>
                        <a14:foregroundMark x1="18354" y1="67540" x2="28059" y2="79234"/>
                        <a14:foregroundMark x1="53797" y1="67742" x2="70042" y2="71774"/>
                        <a14:foregroundMark x1="57806" y1="64113" x2="70675" y2="68548"/>
                        <a14:foregroundMark x1="86498" y1="61895" x2="83122" y2="69556"/>
                        <a14:foregroundMark x1="90506" y1="56855" x2="86076" y2="69758"/>
                        <a14:foregroundMark x1="90717" y1="50403" x2="86076" y2="68347"/>
                        <a14:foregroundMark x1="81857" y1="24395" x2="89451" y2="39315"/>
                        <a14:foregroundMark x1="88819" y1="30847" x2="92827" y2="43548"/>
                        <a14:foregroundMark x1="93249" y1="47379" x2="91139" y2="60282"/>
                        <a14:foregroundMark x1="41561" y1="9879" x2="52532" y2="8669"/>
                        <a14:foregroundMark x1="48312" y1="7661" x2="42405" y2="9879"/>
                        <a14:foregroundMark x1="41561" y1="8871" x2="34810" y2="10887"/>
                        <a14:foregroundMark x1="35021" y1="21774" x2="29958" y2="31250"/>
                        <a14:foregroundMark x1="51266" y1="30645" x2="42827" y2="44556"/>
                        <a14:foregroundMark x1="24473" y1="36694" x2="22152" y2="56855"/>
                        <a14:foregroundMark x1="4430" y1="46774" x2="4219" y2="53629"/>
                        <a14:foregroundMark x1="39662" y1="89315" x2="58228" y2="89718"/>
                        <a14:foregroundMark x1="47679" y1="90927" x2="55485" y2="91935"/>
                        <a14:backgroundMark x1="7384" y1="5645" x2="6751" y2="9476"/>
                        <a14:backgroundMark x1="6751" y1="9476" x2="17932" y2="6048"/>
                        <a14:backgroundMark x1="17932" y1="6048" x2="32404" y2="797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348" y="4890260"/>
            <a:ext cx="845548" cy="884793"/>
          </a:xfrm>
          <a:prstGeom prst="rect">
            <a:avLst/>
          </a:prstGeom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AB4764A4-3148-CBBC-6CBD-D73902F5C4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480" y="4979735"/>
            <a:ext cx="705842" cy="70584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FC90A743-3D58-1E62-CA9A-1FEF6C7333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517" y="2913912"/>
            <a:ext cx="1814846" cy="18148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5C9062-C0E6-A9E1-BCD1-C731F794FB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04137E-5737-8458-D7AD-455ED175A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MySQL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数据库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7C427CF-4146-3170-BFF6-0CDFF8BF9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3</a:t>
            </a:fld>
            <a:endParaRPr lang="zh-CN" altLang="en-US">
              <a:cs typeface="+mn-ea"/>
              <a:sym typeface="+mn-lt"/>
            </a:endParaRPr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8BAC2AB0-B864-16D9-8215-FAFE058814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0744" y="1542835"/>
            <a:ext cx="4429743" cy="1133633"/>
          </a:xfrm>
          <a:prstGeom prst="rect">
            <a:avLst/>
          </a:prstGeom>
        </p:spPr>
      </p:pic>
      <p:pic>
        <p:nvPicPr>
          <p:cNvPr id="45" name="图片 44">
            <a:extLst>
              <a:ext uri="{FF2B5EF4-FFF2-40B4-BE49-F238E27FC236}">
                <a16:creationId xmlns:a16="http://schemas.microsoft.com/office/drawing/2014/main" id="{8A40ADFD-3749-E227-7C09-75EE7EA34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5980" y="1109387"/>
            <a:ext cx="4382112" cy="3134162"/>
          </a:xfrm>
          <a:prstGeom prst="rect">
            <a:avLst/>
          </a:prstGeom>
        </p:spPr>
      </p:pic>
      <p:sp>
        <p:nvSpPr>
          <p:cNvPr id="46" name="文本框 45">
            <a:extLst>
              <a:ext uri="{FF2B5EF4-FFF2-40B4-BE49-F238E27FC236}">
                <a16:creationId xmlns:a16="http://schemas.microsoft.com/office/drawing/2014/main" id="{FBC4B135-CD4D-1538-4ED3-8A2ACE28C7C3}"/>
              </a:ext>
            </a:extLst>
          </p:cNvPr>
          <p:cNvSpPr txBox="1"/>
          <p:nvPr/>
        </p:nvSpPr>
        <p:spPr>
          <a:xfrm>
            <a:off x="6095205" y="1490951"/>
            <a:ext cx="875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设备表：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5B279189-899B-2A02-54CE-1F087D352D40}"/>
              </a:ext>
            </a:extLst>
          </p:cNvPr>
          <p:cNvSpPr txBox="1"/>
          <p:nvPr/>
        </p:nvSpPr>
        <p:spPr>
          <a:xfrm>
            <a:off x="486087" y="1490736"/>
            <a:ext cx="1029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温度表：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12B80009-B770-1590-37FD-B58739ABA65F}"/>
              </a:ext>
            </a:extLst>
          </p:cNvPr>
          <p:cNvSpPr txBox="1"/>
          <p:nvPr/>
        </p:nvSpPr>
        <p:spPr>
          <a:xfrm>
            <a:off x="1276350" y="4438650"/>
            <a:ext cx="10058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本次我们将设备表中的设备</a:t>
            </a:r>
            <a:r>
              <a:rPr lang="en-US" altLang="zh-CN" sz="2400" dirty="0"/>
              <a:t>ID</a:t>
            </a:r>
            <a:r>
              <a:rPr lang="zh-CN" altLang="en-US" sz="2400" dirty="0"/>
              <a:t>和温度表中的设备</a:t>
            </a:r>
            <a:r>
              <a:rPr lang="en-US" altLang="zh-CN" sz="2400" dirty="0"/>
              <a:t>ID</a:t>
            </a:r>
            <a:r>
              <a:rPr lang="zh-CN" altLang="en-US" sz="2400" dirty="0"/>
              <a:t>做了外键约束，来实现查询的内连接，在展示环节我们会演示到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9F7A59D-44F0-13C3-B115-C956358BA8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9DFE095E-F8EE-7D30-4491-0CCF0AF1DC12}"/>
              </a:ext>
            </a:extLst>
          </p:cNvPr>
          <p:cNvSpPr txBox="1"/>
          <p:nvPr/>
        </p:nvSpPr>
        <p:spPr>
          <a:xfrm>
            <a:off x="1377373" y="6055797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20229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7" grpId="0"/>
      <p:bldP spid="4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05AEF3-A3CF-80A8-E70D-FD8520C626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0AD63D-3D94-07B1-E829-C8E3D6F4F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单片机部分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4E86F2B-AC9E-2041-9BD5-06CB54F11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4</a:t>
            </a:fld>
            <a:endParaRPr lang="zh-CN" altLang="en-US">
              <a:cs typeface="+mn-ea"/>
              <a:sym typeface="+mn-lt"/>
            </a:endParaRPr>
          </a:p>
        </p:txBody>
      </p:sp>
      <p:graphicFrame>
        <p:nvGraphicFramePr>
          <p:cNvPr id="6" name="对象 -2147482623">
            <a:extLst>
              <a:ext uri="{FF2B5EF4-FFF2-40B4-BE49-F238E27FC236}">
                <a16:creationId xmlns:a16="http://schemas.microsoft.com/office/drawing/2014/main" id="{F65D813D-A8A0-94F2-D6F6-CA5DAEA128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7683758"/>
              </p:ext>
            </p:extLst>
          </p:nvPr>
        </p:nvGraphicFramePr>
        <p:xfrm>
          <a:off x="527049" y="1037431"/>
          <a:ext cx="4534590" cy="4783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7000875" imgH="7383780" progId="Visio.Drawing.11">
                  <p:embed/>
                </p:oleObj>
              </mc:Choice>
              <mc:Fallback>
                <p:oleObj r:id="rId2" imgW="7000875" imgH="7383780" progId="Visio.Drawing.11">
                  <p:embed/>
                  <p:pic>
                    <p:nvPicPr>
                      <p:cNvPr id="2" name="对象 -214748262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27049" y="1037431"/>
                        <a:ext cx="4534590" cy="4783138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692FBF8B-6EE5-D83D-6C69-A0106B2EBA89}"/>
              </a:ext>
            </a:extLst>
          </p:cNvPr>
          <p:cNvSpPr txBox="1"/>
          <p:nvPr/>
        </p:nvSpPr>
        <p:spPr>
          <a:xfrm>
            <a:off x="6381750" y="1343025"/>
            <a:ext cx="42672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extLst>
                <a:ext uri="{35155182-B16C-46BC-9424-99874614C6A1}">
                  <wpsdc:indentchars xmlns="" xmlns:wpsdc="http://www.wps.cn/officeDocument/2017/drawingmlCustomData" xmlns:lc="http://schemas.openxmlformats.org/drawingml/2006/lockedCanvas" val="200" checksum="3837665281"/>
                </a:ext>
              </a:extLst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在进行工作的过程当中，首先单片机控制系统先进行系统的初始化设置，初始化任务主要是LCD1602液晶初始化、串口通信初始化以及温度采集任务初始化。初始化完成后，程序在while(1)循环序列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不断检测按键状态以及</a:t>
            </a: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判断是否需要读取温度数据，当检测到按键状态发生改变，根据不同键值，进行不同的处理操作。否则进行温度读取，获取到的最新温度刷新显示在LCD1602液晶，并将温度数据传入蜂鸣器报警处理，判断是否需要发出警报。然后将处理好的温度数据发送到单片机串口，通过串口将数据发送到采集程序。</a:t>
            </a:r>
          </a:p>
          <a:p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0FF6685-16AA-BEC3-9507-AA1ADA6188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F0DA3CA8-9F26-66AD-DA4D-DD4A157967E6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7024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13DE75-B31F-9DF0-4E95-7E0635250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10D546-B2E5-5783-12AD-F51648B98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Python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部分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DEFCDA-680C-92E1-A219-6AECE9CAD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5</a:t>
            </a:fld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F12E960-6F65-AD10-3801-B8F695E64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912" y="1167531"/>
            <a:ext cx="3376613" cy="5690468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028A1D40-DB5E-59C6-DFF7-BC5864937FA8}"/>
              </a:ext>
            </a:extLst>
          </p:cNvPr>
          <p:cNvSpPr txBox="1"/>
          <p:nvPr/>
        </p:nvSpPr>
        <p:spPr>
          <a:xfrm>
            <a:off x="4834551" y="1859339"/>
            <a:ext cx="820102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Python</a:t>
            </a:r>
            <a:r>
              <a:rPr lang="zh-CN" altLang="en-US" dirty="0"/>
              <a:t>侧主要实现的功能包括：</a:t>
            </a:r>
            <a:endParaRPr lang="en-US" altLang="zh-CN" dirty="0"/>
          </a:p>
          <a:p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1.</a:t>
            </a:r>
            <a:r>
              <a:rPr lang="zh-CN" altLang="en-US" dirty="0"/>
              <a:t>配置串口通信参数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2.</a:t>
            </a:r>
            <a:r>
              <a:rPr lang="zh-CN" altLang="en-US" dirty="0"/>
              <a:t>连接到本地的</a:t>
            </a:r>
            <a:r>
              <a:rPr lang="en-US" altLang="zh-CN" dirty="0"/>
              <a:t>MySQL</a:t>
            </a:r>
            <a:r>
              <a:rPr lang="zh-CN" altLang="en-US" dirty="0"/>
              <a:t>数据库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3.</a:t>
            </a:r>
            <a:r>
              <a:rPr lang="zh-CN" altLang="en-US" dirty="0"/>
              <a:t>解析从串口接收到的十六进制数据为温度值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4.</a:t>
            </a:r>
            <a:r>
              <a:rPr lang="zh-CN" altLang="en-US" dirty="0"/>
              <a:t>将解析后的温度值和对应的设备</a:t>
            </a:r>
            <a:r>
              <a:rPr lang="en-US" altLang="zh-CN" dirty="0"/>
              <a:t>ID</a:t>
            </a:r>
            <a:r>
              <a:rPr lang="zh-CN" altLang="en-US" dirty="0"/>
              <a:t>插入到数据库中。</a:t>
            </a:r>
            <a:endParaRPr lang="en-US" altLang="zh-CN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zh-CN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/>
              <a:t>5.</a:t>
            </a:r>
            <a:r>
              <a:rPr lang="zh-CN" altLang="en-US" dirty="0"/>
              <a:t>监听键盘上的</a:t>
            </a:r>
            <a:r>
              <a:rPr lang="en-US" altLang="zh-CN" dirty="0"/>
              <a:t>c</a:t>
            </a:r>
            <a:r>
              <a:rPr lang="zh-CN" altLang="en-US" dirty="0"/>
              <a:t>键，当检测到该键被按下时停止数据采集。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4205EC0-313B-B090-504C-CF1C36D1C0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721" y="56631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748DFE7C-64CB-A19C-2C7A-2436160B35A1}"/>
              </a:ext>
            </a:extLst>
          </p:cNvPr>
          <p:cNvSpPr txBox="1"/>
          <p:nvPr/>
        </p:nvSpPr>
        <p:spPr>
          <a:xfrm>
            <a:off x="9283700" y="61468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36028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8FFE50-42DB-3D11-0D1D-699F01E0CA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D484ED-2B29-FAC3-7FB5-EDC65B3EE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C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语言部分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EDD21A-A779-B7CE-D6E8-68AE4A0247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6</a:t>
            </a:fld>
            <a:endParaRPr lang="zh-CN" altLang="en-US">
              <a:cs typeface="+mn-ea"/>
              <a:sym typeface="+mn-lt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A275667-D13E-5E66-FAEF-0FAEE3C49E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817" y="1203062"/>
            <a:ext cx="8486775" cy="396929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6A6878C-2962-511A-D9EE-A85945C3BE95}"/>
              </a:ext>
            </a:extLst>
          </p:cNvPr>
          <p:cNvSpPr txBox="1"/>
          <p:nvPr/>
        </p:nvSpPr>
        <p:spPr>
          <a:xfrm>
            <a:off x="1270792" y="5346718"/>
            <a:ext cx="96488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</a:t>
            </a:r>
            <a:r>
              <a:rPr lang="zh-CN" altLang="en-US" dirty="0"/>
              <a:t>语言部分本次项目采用了</a:t>
            </a:r>
            <a:r>
              <a:rPr lang="zh-CN" altLang="en-US" b="1" dirty="0">
                <a:solidFill>
                  <a:srgbClr val="FF0000"/>
                </a:solidFill>
              </a:rPr>
              <a:t>多层模块化分级</a:t>
            </a:r>
            <a:r>
              <a:rPr lang="zh-CN" altLang="en-US" dirty="0"/>
              <a:t>，功能模块发生故障只需关闭故障模块，不影响主干程序的运行，同时向程序添加新功能也非常方便，只需在对应大类下添加功能</a:t>
            </a:r>
            <a:r>
              <a:rPr lang="en-US" altLang="zh-CN" dirty="0"/>
              <a:t>(Case)</a:t>
            </a:r>
            <a:r>
              <a:rPr lang="zh-CN" altLang="en-US" dirty="0"/>
              <a:t>即可。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EAA3B70-B569-37D1-EA8F-59831E2279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085A9FEC-A99C-F876-DDFC-4720E06C0AB1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59568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F398C-09D3-2159-4B48-201982395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9749975-4197-AF5A-5EAE-A9567AA4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C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语言部分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02ACC0-5054-5EAE-B6E5-AC2BCEE37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7</a:t>
            </a:fld>
            <a:endParaRPr lang="zh-CN" altLang="en-US">
              <a:cs typeface="+mn-ea"/>
              <a:sym typeface="+mn-lt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48E429C-7117-C0C1-C447-4183B3FFE2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09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83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4787E-CA27-AA1A-E1F2-C397745EDD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8A93AE9-5D62-04C2-4282-96BD47492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407" y="2533650"/>
            <a:ext cx="5419185" cy="895350"/>
          </a:xfrm>
        </p:spPr>
        <p:txBody>
          <a:bodyPr>
            <a:noAutofit/>
          </a:bodyPr>
          <a:lstStyle/>
          <a:p>
            <a:pPr algn="ctr"/>
            <a:r>
              <a:rPr lang="zh-CN" altLang="en-US" sz="6600" dirty="0">
                <a:hlinkClick r:id="rId2" action="ppaction://hlinkfile"/>
              </a:rPr>
              <a:t>功能演示</a:t>
            </a:r>
            <a:endParaRPr lang="zh-CN" altLang="en-US" sz="66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A2F67BD-EEBF-D558-337C-CBC0B923CFD5}"/>
              </a:ext>
            </a:extLst>
          </p:cNvPr>
          <p:cNvGrpSpPr/>
          <p:nvPr/>
        </p:nvGrpSpPr>
        <p:grpSpPr>
          <a:xfrm>
            <a:off x="310121" y="5561570"/>
            <a:ext cx="6001779" cy="1341746"/>
            <a:chOff x="310121" y="5561570"/>
            <a:chExt cx="6001779" cy="1341746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32E3133F-505C-EB08-A9CF-567A8064E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>
                          <a14:foregroundMark x1="36621" y1="38379" x2="36621" y2="38379"/>
                          <a14:foregroundMark x1="37402" y1="57129" x2="37402" y2="57129"/>
                          <a14:foregroundMark x1="41699" y1="57520" x2="41699" y2="57520"/>
                          <a14:foregroundMark x1="46484" y1="57227" x2="46484" y2="57227"/>
                          <a14:foregroundMark x1="54102" y1="59473" x2="54102" y2="59473"/>
                          <a14:foregroundMark x1="57617" y1="60156" x2="57617" y2="60156"/>
                          <a14:foregroundMark x1="63379" y1="61230" x2="63379" y2="61230"/>
                          <a14:foregroundMark x1="59863" y1="64551" x2="59863" y2="64551"/>
                          <a14:foregroundMark x1="54102" y1="66992" x2="54102" y2="66992"/>
                          <a14:foregroundMark x1="45996" y1="68164" x2="45996" y2="68164"/>
                          <a14:foregroundMark x1="39355" y1="68555" x2="39355" y2="68555"/>
                          <a14:foregroundMark x1="46973" y1="36426" x2="46973" y2="36426"/>
                          <a14:foregroundMark x1="60254" y1="58008" x2="60254" y2="58008"/>
                          <a14:backgroundMark x1="58301" y1="65918" x2="58301" y2="65918"/>
                          <a14:backgroundMark x1="58691" y1="68652" x2="58691" y2="68652"/>
                          <a14:backgroundMark x1="57422" y1="60352" x2="57422" y2="60352"/>
                          <a14:backgroundMark x1="57715" y1="60449" x2="57715" y2="60449"/>
                          <a14:backgroundMark x1="57617" y1="60254" x2="57617" y2="60254"/>
                          <a14:backgroundMark x1="57617" y1="60156" x2="57617" y2="601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121" y="5561570"/>
              <a:ext cx="1341746" cy="1341746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F7FC0376-6BB7-64F4-166C-C6CD773445A6}"/>
                </a:ext>
              </a:extLst>
            </p:cNvPr>
            <p:cNvSpPr txBox="1"/>
            <p:nvPr/>
          </p:nvSpPr>
          <p:spPr>
            <a:xfrm>
              <a:off x="1308100" y="6045200"/>
              <a:ext cx="5003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800" b="1" spc="600" dirty="0">
                  <a:solidFill>
                    <a:schemeClr val="accent2">
                      <a:lumMod val="60000"/>
                      <a:lumOff val="40000"/>
                    </a:schemeClr>
                  </a:solidFill>
                  <a:cs typeface="+mn-ea"/>
                  <a:sym typeface="+mn-lt"/>
                </a:rPr>
                <a:t>组名</a:t>
              </a:r>
              <a:endParaRPr lang="en-US" altLang="zh-CN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933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52098" y="3004268"/>
            <a:ext cx="5419185" cy="424732"/>
          </a:xfrm>
        </p:spPr>
        <p:txBody>
          <a:bodyPr>
            <a:sp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网络层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353214" y="3733086"/>
            <a:ext cx="5419185" cy="314894"/>
          </a:xfrm>
        </p:spPr>
        <p:txBody>
          <a:bodyPr>
            <a:spAutoFit/>
          </a:bodyPr>
          <a:lstStyle/>
          <a:p>
            <a:pPr lvl="0"/>
            <a:r>
              <a:rPr lang="zh-CN" altLang="en-US" dirty="0">
                <a:cs typeface="+mn-ea"/>
                <a:sym typeface="+mn-lt"/>
              </a:rPr>
              <a:t>通过跨三层漫游实现系统互联互通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</a:t>
            </a:r>
            <a:r>
              <a:rPr lang="en-US" spc="100" dirty="0">
                <a:solidFill>
                  <a:schemeClr val="accent1"/>
                </a:solidFill>
                <a:cs typeface="+mn-ea"/>
                <a:sym typeface="+mn-lt"/>
              </a:rPr>
              <a:t>3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285F59D8-AD14-5E55-AD2F-324CF50AE1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F82AD80D-1B8A-1785-BF95-021DE4B9A558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1E5E815D-6E23-51DD-6224-C683BEA477AB}"/>
              </a:ext>
            </a:extLst>
          </p:cNvPr>
          <p:cNvGrpSpPr/>
          <p:nvPr/>
        </p:nvGrpSpPr>
        <p:grpSpPr>
          <a:xfrm>
            <a:off x="3516751" y="1467245"/>
            <a:ext cx="6962004" cy="726026"/>
            <a:chOff x="3516752" y="1372444"/>
            <a:chExt cx="6962004" cy="726026"/>
          </a:xfrm>
        </p:grpSpPr>
        <p:sp>
          <p:nvSpPr>
            <p:cNvPr id="6" name="箭头: 五边形 5"/>
            <p:cNvSpPr/>
            <p:nvPr/>
          </p:nvSpPr>
          <p:spPr>
            <a:xfrm>
              <a:off x="3937216" y="1561372"/>
              <a:ext cx="6541540" cy="537098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感知层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" name="等腰三角形 6"/>
            <p:cNvSpPr/>
            <p:nvPr/>
          </p:nvSpPr>
          <p:spPr>
            <a:xfrm rot="19800000" flipH="1">
              <a:off x="3516752" y="1372444"/>
              <a:ext cx="840930" cy="72493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8" name="文本框 7"/>
            <p:cNvSpPr txBox="1"/>
            <p:nvPr/>
          </p:nvSpPr>
          <p:spPr bwMode="auto">
            <a:xfrm>
              <a:off x="3776861" y="1617829"/>
              <a:ext cx="47000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B3199173-C4D2-ACC4-4BF1-AFEC9018472C}"/>
              </a:ext>
            </a:extLst>
          </p:cNvPr>
          <p:cNvGrpSpPr/>
          <p:nvPr/>
        </p:nvGrpSpPr>
        <p:grpSpPr>
          <a:xfrm>
            <a:off x="3516752" y="2386156"/>
            <a:ext cx="6962004" cy="726025"/>
            <a:chOff x="3516752" y="2219216"/>
            <a:chExt cx="6962004" cy="726025"/>
          </a:xfrm>
        </p:grpSpPr>
        <p:sp>
          <p:nvSpPr>
            <p:cNvPr id="9" name="箭头: 五边形 8"/>
            <p:cNvSpPr/>
            <p:nvPr/>
          </p:nvSpPr>
          <p:spPr>
            <a:xfrm>
              <a:off x="3937216" y="2408143"/>
              <a:ext cx="6541540" cy="537098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应用层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" name="等腰三角形 9"/>
            <p:cNvSpPr/>
            <p:nvPr/>
          </p:nvSpPr>
          <p:spPr>
            <a:xfrm rot="19800000" flipH="1">
              <a:off x="3516752" y="2219216"/>
              <a:ext cx="840930" cy="72493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11" name="文本框 10"/>
            <p:cNvSpPr txBox="1"/>
            <p:nvPr/>
          </p:nvSpPr>
          <p:spPr bwMode="auto">
            <a:xfrm>
              <a:off x="3776861" y="2464601"/>
              <a:ext cx="47000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</a:p>
          </p:txBody>
        </p:sp>
      </p:grpSp>
      <p:sp>
        <p:nvSpPr>
          <p:cNvPr id="22" name="矩形 21"/>
          <p:cNvSpPr/>
          <p:nvPr/>
        </p:nvSpPr>
        <p:spPr>
          <a:xfrm>
            <a:off x="1713245" y="1376706"/>
            <a:ext cx="2044149" cy="369332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r>
              <a:rPr lang="zh-CN" altLang="en-US" dirty="0">
                <a:cs typeface="+mn-ea"/>
                <a:sym typeface="+mn-lt"/>
              </a:rPr>
              <a:t>目录</a:t>
            </a:r>
            <a:r>
              <a:rPr lang="en-US" altLang="zh-CN" dirty="0">
                <a:cs typeface="+mn-ea"/>
                <a:sym typeface="+mn-lt"/>
              </a:rPr>
              <a:t>/CONTENTS </a:t>
            </a:r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E869FF7E-B26B-0428-BB28-186E3701711F}"/>
              </a:ext>
            </a:extLst>
          </p:cNvPr>
          <p:cNvGrpSpPr/>
          <p:nvPr/>
        </p:nvGrpSpPr>
        <p:grpSpPr>
          <a:xfrm>
            <a:off x="3516750" y="3281621"/>
            <a:ext cx="6962006" cy="734854"/>
            <a:chOff x="3516750" y="3057159"/>
            <a:chExt cx="6962006" cy="734854"/>
          </a:xfrm>
        </p:grpSpPr>
        <p:sp>
          <p:nvSpPr>
            <p:cNvPr id="12" name="箭头: 五边形 11"/>
            <p:cNvSpPr/>
            <p:nvPr/>
          </p:nvSpPr>
          <p:spPr>
            <a:xfrm>
              <a:off x="3937216" y="3254915"/>
              <a:ext cx="6541540" cy="537098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网络层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" name="等腰三角形 12"/>
            <p:cNvSpPr/>
            <p:nvPr/>
          </p:nvSpPr>
          <p:spPr>
            <a:xfrm rot="19800000" flipH="1">
              <a:off x="3516750" y="3057159"/>
              <a:ext cx="840930" cy="72493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14" name="文本框 13"/>
            <p:cNvSpPr txBox="1"/>
            <p:nvPr/>
          </p:nvSpPr>
          <p:spPr bwMode="auto">
            <a:xfrm>
              <a:off x="3795911" y="3303784"/>
              <a:ext cx="47000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</a:p>
          </p:txBody>
        </p:sp>
      </p:grpSp>
      <p:sp>
        <p:nvSpPr>
          <p:cNvPr id="27" name="文本框 26">
            <a:extLst>
              <a:ext uri="{FF2B5EF4-FFF2-40B4-BE49-F238E27FC236}">
                <a16:creationId xmlns:a16="http://schemas.microsoft.com/office/drawing/2014/main" id="{147F7C25-8A30-2F33-27A2-7F1B939614E7}"/>
              </a:ext>
            </a:extLst>
          </p:cNvPr>
          <p:cNvSpPr txBox="1"/>
          <p:nvPr/>
        </p:nvSpPr>
        <p:spPr>
          <a:xfrm>
            <a:off x="564776" y="673069"/>
            <a:ext cx="54595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0" dirty="0">
                <a:latin typeface="+mn-lt"/>
                <a:ea typeface="+mn-ea"/>
                <a:cs typeface="+mn-ea"/>
                <a:sym typeface="+mn-lt"/>
              </a:rPr>
              <a:t>月之暗面温度采集系统</a:t>
            </a:r>
            <a:endParaRPr lang="zh-CN" altLang="en-US" dirty="0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19695BE-77E7-482E-D1F1-6C8C88557C8B}"/>
              </a:ext>
            </a:extLst>
          </p:cNvPr>
          <p:cNvGrpSpPr/>
          <p:nvPr/>
        </p:nvGrpSpPr>
        <p:grpSpPr>
          <a:xfrm>
            <a:off x="3516752" y="4217064"/>
            <a:ext cx="6962004" cy="726025"/>
            <a:chOff x="3516752" y="2219216"/>
            <a:chExt cx="6962004" cy="726025"/>
          </a:xfrm>
        </p:grpSpPr>
        <p:sp>
          <p:nvSpPr>
            <p:cNvPr id="5" name="箭头: 五边形 4">
              <a:extLst>
                <a:ext uri="{FF2B5EF4-FFF2-40B4-BE49-F238E27FC236}">
                  <a16:creationId xmlns:a16="http://schemas.microsoft.com/office/drawing/2014/main" id="{890FE25C-CCB3-97FA-7A19-7C82CF7B92C0}"/>
                </a:ext>
              </a:extLst>
            </p:cNvPr>
            <p:cNvSpPr/>
            <p:nvPr/>
          </p:nvSpPr>
          <p:spPr>
            <a:xfrm>
              <a:off x="3937216" y="2408143"/>
              <a:ext cx="6541540" cy="537098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前端页面层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5" name="等腰三角形 14">
              <a:extLst>
                <a:ext uri="{FF2B5EF4-FFF2-40B4-BE49-F238E27FC236}">
                  <a16:creationId xmlns:a16="http://schemas.microsoft.com/office/drawing/2014/main" id="{74D332DE-6115-4060-B181-60CE86BE0E84}"/>
                </a:ext>
              </a:extLst>
            </p:cNvPr>
            <p:cNvSpPr/>
            <p:nvPr/>
          </p:nvSpPr>
          <p:spPr>
            <a:xfrm rot="19800000" flipH="1">
              <a:off x="3516752" y="2219216"/>
              <a:ext cx="840930" cy="72493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5FDC1385-A0DC-C9E8-355C-12D688000284}"/>
                </a:ext>
              </a:extLst>
            </p:cNvPr>
            <p:cNvSpPr txBox="1"/>
            <p:nvPr/>
          </p:nvSpPr>
          <p:spPr bwMode="auto">
            <a:xfrm>
              <a:off x="3776861" y="2464601"/>
              <a:ext cx="47000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cs typeface="+mn-ea"/>
                  <a:sym typeface="+mn-lt"/>
                </a:rPr>
                <a:t>04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0FD6C42-6434-0F9C-64D3-5A81927E77A3}"/>
              </a:ext>
            </a:extLst>
          </p:cNvPr>
          <p:cNvGrpSpPr/>
          <p:nvPr/>
        </p:nvGrpSpPr>
        <p:grpSpPr>
          <a:xfrm>
            <a:off x="3516752" y="5119448"/>
            <a:ext cx="6962004" cy="726025"/>
            <a:chOff x="3516752" y="2219216"/>
            <a:chExt cx="6962004" cy="726025"/>
          </a:xfrm>
        </p:grpSpPr>
        <p:sp>
          <p:nvSpPr>
            <p:cNvPr id="18" name="箭头: 五边形 17">
              <a:extLst>
                <a:ext uri="{FF2B5EF4-FFF2-40B4-BE49-F238E27FC236}">
                  <a16:creationId xmlns:a16="http://schemas.microsoft.com/office/drawing/2014/main" id="{EE0A1809-AD1D-92B9-7800-6CC328FD5BDE}"/>
                </a:ext>
              </a:extLst>
            </p:cNvPr>
            <p:cNvSpPr/>
            <p:nvPr/>
          </p:nvSpPr>
          <p:spPr>
            <a:xfrm>
              <a:off x="3937216" y="2408143"/>
              <a:ext cx="6541540" cy="537098"/>
            </a:xfrm>
            <a:prstGeom prst="homePlat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400" b="1" dirty="0">
                  <a:solidFill>
                    <a:schemeClr val="accent1">
                      <a:lumMod val="50000"/>
                    </a:schemeClr>
                  </a:solidFill>
                  <a:cs typeface="+mn-ea"/>
                  <a:sym typeface="+mn-lt"/>
                </a:rPr>
                <a:t>本次项目开发总结</a:t>
              </a:r>
              <a:endParaRPr lang="en-US" altLang="zh-CN" sz="2400" b="1" dirty="0"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9" name="等腰三角形 18">
              <a:extLst>
                <a:ext uri="{FF2B5EF4-FFF2-40B4-BE49-F238E27FC236}">
                  <a16:creationId xmlns:a16="http://schemas.microsoft.com/office/drawing/2014/main" id="{3341BCDD-7AF3-EC5D-A52C-CD0A67951F60}"/>
                </a:ext>
              </a:extLst>
            </p:cNvPr>
            <p:cNvSpPr/>
            <p:nvPr/>
          </p:nvSpPr>
          <p:spPr>
            <a:xfrm rot="19800000" flipH="1">
              <a:off x="3516752" y="2219216"/>
              <a:ext cx="840930" cy="724933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68794519-1AD0-4119-C7A7-7456C7784856}"/>
                </a:ext>
              </a:extLst>
            </p:cNvPr>
            <p:cNvSpPr txBox="1"/>
            <p:nvPr/>
          </p:nvSpPr>
          <p:spPr bwMode="auto">
            <a:xfrm>
              <a:off x="3776861" y="2464601"/>
              <a:ext cx="47000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  <a:scene3d>
                <a:camera prst="orthographicFront"/>
                <a:lightRig rig="threePt" dir="t"/>
              </a:scene3d>
              <a:sp3d>
                <a:bevelT w="1270" h="1270"/>
              </a:sp3d>
            </a:bodyPr>
            <a:lstStyle/>
            <a:p>
              <a:pPr algn="ctr"/>
              <a:r>
                <a:rPr lang="en-US" altLang="ko-KR" sz="2000" b="1" dirty="0">
                  <a:solidFill>
                    <a:schemeClr val="bg1"/>
                  </a:solidFill>
                  <a:cs typeface="+mn-ea"/>
                  <a:sym typeface="+mn-lt"/>
                </a:rPr>
                <a:t>05</a:t>
              </a:r>
            </a:p>
          </p:txBody>
        </p:sp>
      </p:grpSp>
      <p:pic>
        <p:nvPicPr>
          <p:cNvPr id="25" name="图片 24">
            <a:extLst>
              <a:ext uri="{FF2B5EF4-FFF2-40B4-BE49-F238E27FC236}">
                <a16:creationId xmlns:a16="http://schemas.microsoft.com/office/drawing/2014/main" id="{A93297F2-43FF-00BD-A74F-02E8FDEFF5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98" y="556959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0" name="副标题 4">
            <a:extLst>
              <a:ext uri="{FF2B5EF4-FFF2-40B4-BE49-F238E27FC236}">
                <a16:creationId xmlns:a16="http://schemas.microsoft.com/office/drawing/2014/main" id="{28B8E370-8086-7DAB-BCF4-0431D3D8887C}"/>
              </a:ext>
            </a:extLst>
          </p:cNvPr>
          <p:cNvSpPr txBox="1">
            <a:spLocks/>
          </p:cNvSpPr>
          <p:nvPr/>
        </p:nvSpPr>
        <p:spPr>
          <a:xfrm>
            <a:off x="1260926" y="6105206"/>
            <a:ext cx="7175501" cy="341632"/>
          </a:xfrm>
          <a:prstGeom prst="rect">
            <a:avLst/>
          </a:prstGeom>
        </p:spPr>
        <p:txBody>
          <a:bodyPr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zh-CN" altLang="en-US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ENSP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拓补图</a:t>
            </a:r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20</a:t>
            </a:fld>
            <a:endParaRPr lang="zh-CN" altLang="en-US">
              <a:cs typeface="+mn-ea"/>
              <a:sym typeface="+mn-lt"/>
            </a:endParaRPr>
          </a:p>
        </p:txBody>
      </p:sp>
      <p:pic>
        <p:nvPicPr>
          <p:cNvPr id="39" name="图片 38">
            <a:extLst>
              <a:ext uri="{FF2B5EF4-FFF2-40B4-BE49-F238E27FC236}">
                <a16:creationId xmlns:a16="http://schemas.microsoft.com/office/drawing/2014/main" id="{23CF1258-A8E3-2F00-7BAC-8A2B43CD6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571" y="1268337"/>
            <a:ext cx="6438579" cy="4572076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137FFE5F-FB70-B804-F66A-64EB5F5B5A29}"/>
              </a:ext>
            </a:extLst>
          </p:cNvPr>
          <p:cNvSpPr txBox="1"/>
          <p:nvPr/>
        </p:nvSpPr>
        <p:spPr>
          <a:xfrm>
            <a:off x="7058024" y="2690336"/>
            <a:ext cx="42052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本次开发我们通过</a:t>
            </a:r>
            <a:r>
              <a:rPr lang="en-US" altLang="zh-CN" dirty="0"/>
              <a:t>AC+AP</a:t>
            </a:r>
            <a:r>
              <a:rPr lang="zh-CN" altLang="en-US" dirty="0"/>
              <a:t>的方式实现了从办公大楼到实验大楼网络信号的无缝流转，并且考虑到温度采集设备需要联网上报数据的需求，本次部署为双频部署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957B0CE-4EE2-AAEC-E3B8-4B950222CF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5F921C18-D84F-BE85-6089-069E620A715D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2D6E4-3476-0EC3-F421-26CC48A926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990992-401B-A5BB-EFBD-6EC375F33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407" y="2533650"/>
            <a:ext cx="5419185" cy="895350"/>
          </a:xfrm>
        </p:spPr>
        <p:txBody>
          <a:bodyPr>
            <a:noAutofit/>
          </a:bodyPr>
          <a:lstStyle/>
          <a:p>
            <a:pPr algn="ctr"/>
            <a:r>
              <a:rPr lang="zh-CN" altLang="en-US" sz="6600" dirty="0"/>
              <a:t>功能演示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EC823D1-841B-A26B-1D98-32AC206E5B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9EB7880A-0CE5-84B8-33EA-A30C32BB7A39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356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53214" y="2931684"/>
            <a:ext cx="5419185" cy="497316"/>
          </a:xfr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chemeClr val="tx1"/>
                </a:solidFill>
                <a:cs typeface="+mn-ea"/>
                <a:sym typeface="+mn-lt"/>
              </a:rPr>
              <a:t>前端页面层</a:t>
            </a:r>
            <a:endParaRPr lang="en-US" altLang="zh-CN" sz="24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353214" y="3733086"/>
            <a:ext cx="5419185" cy="314894"/>
          </a:xfrm>
        </p:spPr>
        <p:txBody>
          <a:bodyPr>
            <a:spAutoFit/>
          </a:bodyPr>
          <a:lstStyle/>
          <a:p>
            <a:pPr lvl="0"/>
            <a:r>
              <a:rPr lang="zh-CN" altLang="en-US" dirty="0">
                <a:cs typeface="+mn-ea"/>
                <a:sym typeface="+mn-lt"/>
              </a:rPr>
              <a:t>本次项目开发我们通过墨刀实现中英双语对称开发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</a:t>
            </a:r>
            <a:r>
              <a:rPr lang="en-US" spc="100" dirty="0">
                <a:solidFill>
                  <a:schemeClr val="accent1"/>
                </a:solidFill>
                <a:cs typeface="+mn-ea"/>
                <a:sym typeface="+mn-lt"/>
              </a:rPr>
              <a:t>4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5507896-1A53-F949-312E-6B8BA8ACD4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1A2D42E8-C835-73E7-190C-E3199EACD848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前端页面</a:t>
            </a:r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展示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23</a:t>
            </a:fld>
            <a:endParaRPr lang="zh-CN" altLang="en-US">
              <a:cs typeface="+mn-ea"/>
              <a:sym typeface="+mn-lt"/>
            </a:endParaRPr>
          </a:p>
        </p:txBody>
      </p:sp>
      <p:pic>
        <p:nvPicPr>
          <p:cNvPr id="28" name="图片 27">
            <a:extLst>
              <a:ext uri="{FF2B5EF4-FFF2-40B4-BE49-F238E27FC236}">
                <a16:creationId xmlns:a16="http://schemas.microsoft.com/office/drawing/2014/main" id="{984A0B3D-0F9D-A2AA-B845-E7E076ECB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633" y="1265244"/>
            <a:ext cx="2844316" cy="5181600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1A8FA169-0235-DB9C-A980-B3CC87B2017F}"/>
              </a:ext>
            </a:extLst>
          </p:cNvPr>
          <p:cNvSpPr txBox="1"/>
          <p:nvPr/>
        </p:nvSpPr>
        <p:spPr>
          <a:xfrm>
            <a:off x="291592" y="1444109"/>
            <a:ext cx="1323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中文主页：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BBF0F1B2-56A2-5347-AB93-B13E96F5E59F}"/>
              </a:ext>
            </a:extLst>
          </p:cNvPr>
          <p:cNvSpPr txBox="1"/>
          <p:nvPr/>
        </p:nvSpPr>
        <p:spPr>
          <a:xfrm>
            <a:off x="5305425" y="1444109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英文主页：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24500B3-F2DB-D551-56F8-0FB58CDD6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5149" y="1322394"/>
            <a:ext cx="2909888" cy="499423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36F0458B-1FA7-470F-5211-484A26149A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6779" y="5645753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7B490B65-C771-FA31-9FFA-E13463CBA3E3}"/>
              </a:ext>
            </a:extLst>
          </p:cNvPr>
          <p:cNvSpPr txBox="1"/>
          <p:nvPr/>
        </p:nvSpPr>
        <p:spPr>
          <a:xfrm>
            <a:off x="711200" y="6129383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72792E-4397-3120-5C6D-AB51B8D4D0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7094CD-F37C-8F00-5B9D-6C427E44D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407" y="2533650"/>
            <a:ext cx="5419185" cy="895350"/>
          </a:xfrm>
        </p:spPr>
        <p:txBody>
          <a:bodyPr>
            <a:noAutofit/>
          </a:bodyPr>
          <a:lstStyle/>
          <a:p>
            <a:pPr algn="ctr"/>
            <a:r>
              <a:rPr lang="zh-CN" altLang="en-US" sz="6600" dirty="0"/>
              <a:t>前端页面演示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BABB429-068C-53A9-76A0-39E06BAF8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6329" y="3686097"/>
            <a:ext cx="1585996" cy="1495735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8C6B9313-B4C4-5997-9E8C-B6606965C2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ECB2A2F6-DAA9-0052-BAA5-16A627FD3753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35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15B785-CDEA-1A98-8F72-FD41109130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30640258-6D27-C3BB-C517-AFC4FD598D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6664" y="1571742"/>
            <a:ext cx="3938671" cy="3714516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76F7792B-33B2-77D2-0766-AB7F4D0D75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23B29E74-48F1-1F25-78AD-775C5540F8DA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23108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CEF0C0-D674-13FC-4551-FD891D481D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2D1E239A-84E8-0325-CA06-CDF64C3EE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3214" y="2931684"/>
            <a:ext cx="5419185" cy="497316"/>
          </a:xfrm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400" dirty="0">
                <a:solidFill>
                  <a:schemeClr val="tx1"/>
                </a:solidFill>
                <a:cs typeface="+mn-ea"/>
                <a:sym typeface="+mn-lt"/>
              </a:rPr>
              <a:t>本次项目开发总结</a:t>
            </a:r>
            <a:endParaRPr lang="en-US" altLang="zh-CN" sz="24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A339EA3-269B-766D-6A11-2D76A60866A6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5</a:t>
            </a:r>
            <a:endParaRPr 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519154D8-EB4E-91D0-25A6-BE86FB3B6E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B91ADFF7-F9F7-4D10-9093-5EB29DBB9E11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74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BB790A-F64C-5685-8FAB-4BB10F54F3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C27BCD0-CEF7-2DD7-4F9D-92AAA0ACE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r>
              <a:rPr lang="en-US" altLang="zh-CN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–</a:t>
            </a:r>
            <a:r>
              <a:rPr lang="zh-CN" altLang="en-US" sz="18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项目开发总结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05006D7-1F8A-133E-30C1-3EB48CD03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2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25F526BB-BB86-0C56-8346-A1344943E7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18142" y="1426551"/>
            <a:ext cx="11555716" cy="4744549"/>
            <a:chOff x="-1258996" y="1998403"/>
            <a:chExt cx="9598524" cy="3940965"/>
          </a:xfrm>
        </p:grpSpPr>
        <p:sp>
          <p:nvSpPr>
            <p:cNvPr id="11" name="1">
              <a:extLst>
                <a:ext uri="{FF2B5EF4-FFF2-40B4-BE49-F238E27FC236}">
                  <a16:creationId xmlns:a16="http://schemas.microsoft.com/office/drawing/2014/main" id="{8EC98DAB-D423-8AA8-C3BA-A518DEDAEA7D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-1258996" y="1998403"/>
              <a:ext cx="9598524" cy="1807200"/>
            </a:xfrm>
            <a:prstGeom prst="round2SameRect">
              <a:avLst>
                <a:gd name="adj1" fmla="val 3423"/>
                <a:gd name="adj2" fmla="val 3406"/>
              </a:avLst>
            </a:prstGeom>
            <a:blipFill>
              <a:blip r:embed="rId7"/>
              <a:stretch>
                <a:fillRect l="-3056" t="-101865" r="-549" b="-33083"/>
              </a:stretch>
            </a:blipFill>
            <a:ln w="381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2" name="1">
              <a:extLst>
                <a:ext uri="{FF2B5EF4-FFF2-40B4-BE49-F238E27FC236}">
                  <a16:creationId xmlns:a16="http://schemas.microsoft.com/office/drawing/2014/main" id="{9684286C-154D-2F24-A4A8-5EEA5255593B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3225295" y="3410369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108000" tIns="108000" rIns="108000" bIns="108000" rtlCol="0" anchor="ctr" anchorCtr="0">
              <a:noAutofit/>
            </a:bodyPr>
            <a:lstStyle/>
            <a:p>
              <a:pPr algn="ctr"/>
              <a:endParaRPr kumimoji="1" lang="zh-CN" altLang="en-US" sz="2000" b="1" dirty="0">
                <a:noFill/>
              </a:endParaRPr>
            </a:p>
          </p:txBody>
        </p:sp>
        <p:sp>
          <p:nvSpPr>
            <p:cNvPr id="14" name="Body-1">
              <a:extLst>
                <a:ext uri="{FF2B5EF4-FFF2-40B4-BE49-F238E27FC236}">
                  <a16:creationId xmlns:a16="http://schemas.microsoft.com/office/drawing/2014/main" id="{98E1C8D7-7BE8-D63A-A55F-B1AF5A3959BA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-359167" y="4695745"/>
              <a:ext cx="7797545" cy="12436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通过此次实验学会了</a:t>
              </a:r>
              <a:r>
                <a:rPr kumimoji="1" lang="en-US" altLang="zh-CN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Keil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软件编程，掌握了</a:t>
              </a:r>
              <a:r>
                <a:rPr kumimoji="1" lang="en-US" altLang="zh-CN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C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语言开发单片机程序，了解</a:t>
              </a:r>
              <a:r>
                <a:rPr kumimoji="1" lang="en-US" altLang="zh-CN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LCD1602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液晶驱动显示，数字式温度传感器采集原理、单总线通信方式和单片机串口通信原理。软件部分使用了</a:t>
              </a:r>
              <a:r>
                <a:rPr kumimoji="1"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模块化编程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，方便程序</a:t>
              </a:r>
              <a:r>
                <a:rPr kumimoji="1"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功能扩展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，对</a:t>
              </a:r>
              <a:r>
                <a:rPr kumimoji="1"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编程能力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有较大的提高，同时对</a:t>
              </a:r>
              <a:r>
                <a:rPr kumimoji="1" lang="zh-CN" altLang="en-US" dirty="0">
                  <a:solidFill>
                    <a:srgbClr val="FF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逻辑分析能力</a:t>
              </a:r>
              <a:r>
                <a:rPr kumimoji="1" lang="zh-CN" altLang="en-US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有很大的提升，并给三年所学知识进行了</a:t>
              </a:r>
              <a:r>
                <a:rPr kumimoji="1" lang="zh-CN" altLang="en-US" b="1" dirty="0">
                  <a:solidFill>
                    <a:srgbClr val="FF0000"/>
                  </a:solidFill>
                  <a:latin typeface="Arial" panose="020B0604020202020204" pitchFamily="34" charset="0"/>
                  <a:ea typeface="Microsoft YaHei" panose="020B0503020204020204" pitchFamily="34" charset="-122"/>
                  <a:sym typeface="Arial" panose="020B0604020202020204" pitchFamily="34" charset="0"/>
                </a:rPr>
                <a:t>系统性的梳理以及总结</a:t>
              </a:r>
            </a:p>
          </p:txBody>
        </p:sp>
        <p:sp>
          <p:nvSpPr>
            <p:cNvPr id="15" name="Title-1">
              <a:extLst>
                <a:ext uri="{FF2B5EF4-FFF2-40B4-BE49-F238E27FC236}">
                  <a16:creationId xmlns:a16="http://schemas.microsoft.com/office/drawing/2014/main" id="{D79C8CA2-623D-F0FE-1B00-DA1FB0F4580F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2117984" y="4281369"/>
              <a:ext cx="2754622" cy="30677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spAutoFit/>
            </a:bodyPr>
            <a:lstStyle/>
            <a:p>
              <a:pPr algn="ctr"/>
              <a:r>
                <a:rPr lang="zh-CN" altLang="en-US" sz="1800" b="1" dirty="0">
                  <a:solidFill>
                    <a:schemeClr val="accent1"/>
                  </a:solidFill>
                  <a:latin typeface="Arial" panose="020B0604020202020204" pitchFamily="34" charset="0"/>
                  <a:ea typeface="Microsoft YaHei" panose="020B0503020204020204" pitchFamily="34" charset="-122"/>
                </a:rPr>
                <a:t>本次项目开发总结</a:t>
              </a: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D874CA7F-0254-5C76-BC2E-10025C11E7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637" y="2885045"/>
            <a:ext cx="1160443" cy="116044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68553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9525" imgH="9525" progId="TCLayout.ActiveDocument.1">
                  <p:embed/>
                </p:oleObj>
              </mc:Choice>
              <mc:Fallback>
                <p:oleObj name="think-cell Slide" r:id="rId3" imgW="9525" imgH="9525" progId="TCLayout.ActiveDocument.1">
                  <p:embed/>
                  <p:pic>
                    <p:nvPicPr>
                      <p:cNvPr id="3" name="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346202" y="3617043"/>
            <a:ext cx="4530723" cy="1006429"/>
          </a:xfrm>
        </p:spPr>
        <p:txBody>
          <a:bodyPr wrap="square">
            <a:spAutoFit/>
          </a:bodyPr>
          <a:lstStyle/>
          <a:p>
            <a:pPr algn="ctr"/>
            <a:r>
              <a:rPr lang="zh-CN" altLang="en-US" sz="6600" dirty="0">
                <a:latin typeface="+mn-lt"/>
                <a:ea typeface="+mn-ea"/>
                <a:cs typeface="+mn-ea"/>
                <a:sym typeface="+mn-lt"/>
              </a:rPr>
              <a:t>感谢观看！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346202" y="5308199"/>
            <a:ext cx="6426198" cy="286232"/>
          </a:xfrm>
        </p:spPr>
        <p:txBody>
          <a:bodyPr>
            <a:spAutoFit/>
          </a:bodyPr>
          <a:lstStyle/>
          <a:p>
            <a:r>
              <a:rPr lang="zh-CN" altLang="en-US">
                <a:cs typeface="+mn-ea"/>
                <a:sym typeface="+mn-lt"/>
              </a:rPr>
              <a:t>组名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>
            <a:spAutoFit/>
          </a:bodyPr>
          <a:lstStyle/>
          <a:p>
            <a:r>
              <a:rPr lang="zh-CN" altLang="zh-CN" sz="1400" b="0" kern="1200" dirty="0">
                <a:solidFill>
                  <a:srgbClr val="3F82C4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月之暗面温度采集系统</a:t>
            </a:r>
            <a:endParaRPr lang="en-US" altLang="zh-CN" dirty="0">
              <a:cs typeface="+mn-ea"/>
              <a:sym typeface="+mn-lt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3C3F05C-9946-C048-5326-81C8B6869B4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1D0CB764-DDFD-8ADC-BBA6-F89DB69C4636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spc="600" dirty="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组名</a:t>
            </a:r>
            <a:endParaRPr lang="en-US" altLang="zh-CN" sz="1800" b="1" spc="600" dirty="0">
              <a:solidFill>
                <a:schemeClr val="accent2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352098" y="3004268"/>
            <a:ext cx="5419185" cy="424732"/>
          </a:xfrm>
        </p:spPr>
        <p:txBody>
          <a:bodyPr>
            <a:spAutoFit/>
          </a:bodyPr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知层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353214" y="3733086"/>
            <a:ext cx="7185233" cy="316049"/>
          </a:xfrm>
        </p:spPr>
        <p:txBody>
          <a:bodyPr wrap="square">
            <a:spAutoFit/>
          </a:bodyPr>
          <a:lstStyle/>
          <a:p>
            <a:pPr lvl="0"/>
            <a:r>
              <a:rPr lang="zh-CN" altLang="en-US" dirty="0">
                <a:cs typeface="+mn-ea"/>
                <a:sym typeface="+mn-lt"/>
              </a:rPr>
              <a:t>选用</a:t>
            </a:r>
            <a:r>
              <a:rPr lang="en-US" altLang="zh-CN" dirty="0">
                <a:cs typeface="+mn-ea"/>
                <a:sym typeface="+mn-lt"/>
              </a:rPr>
              <a:t>89C52RC</a:t>
            </a:r>
            <a:r>
              <a:rPr lang="zh-CN" altLang="en-US" dirty="0">
                <a:cs typeface="+mn-ea"/>
                <a:sym typeface="+mn-lt"/>
              </a:rPr>
              <a:t>和</a:t>
            </a:r>
            <a:r>
              <a:rPr lang="en-US" altLang="zh-CN" dirty="0">
                <a:cs typeface="+mn-ea"/>
                <a:sym typeface="+mn-lt"/>
              </a:rPr>
              <a:t>DS18B20</a:t>
            </a:r>
            <a:r>
              <a:rPr lang="zh-CN" altLang="en-US" dirty="0">
                <a:cs typeface="+mn-ea"/>
                <a:sym typeface="+mn-lt"/>
              </a:rPr>
              <a:t>组成温度采集，蜂鸣器实现声音报警、</a:t>
            </a:r>
            <a:r>
              <a:rPr lang="en-US" altLang="zh-CN" dirty="0">
                <a:cs typeface="+mn-ea"/>
                <a:sym typeface="+mn-lt"/>
              </a:rPr>
              <a:t>CH340</a:t>
            </a:r>
            <a:r>
              <a:rPr lang="zh-CN" altLang="en-US" dirty="0">
                <a:cs typeface="+mn-ea"/>
                <a:sym typeface="+mn-lt"/>
              </a:rPr>
              <a:t>实现</a:t>
            </a:r>
            <a:r>
              <a:rPr lang="en-US" altLang="zh-CN" dirty="0">
                <a:cs typeface="+mn-ea"/>
                <a:sym typeface="+mn-lt"/>
              </a:rPr>
              <a:t>USB</a:t>
            </a:r>
            <a:r>
              <a:rPr lang="zh-CN" altLang="en-US" dirty="0">
                <a:cs typeface="+mn-ea"/>
                <a:sym typeface="+mn-lt"/>
              </a:rPr>
              <a:t>转串口、按键更改阈值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E6AD941-9193-528E-78D2-9F619C4E1B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36621" y1="38379" x2="36621" y2="38379"/>
                        <a14:foregroundMark x1="37402" y1="57129" x2="37402" y2="57129"/>
                        <a14:foregroundMark x1="41699" y1="57520" x2="41699" y2="57520"/>
                        <a14:foregroundMark x1="46484" y1="57227" x2="46484" y2="57227"/>
                        <a14:foregroundMark x1="54102" y1="59473" x2="54102" y2="59473"/>
                        <a14:foregroundMark x1="57617" y1="60156" x2="57617" y2="60156"/>
                        <a14:foregroundMark x1="63379" y1="61230" x2="63379" y2="61230"/>
                        <a14:foregroundMark x1="59863" y1="64551" x2="59863" y2="64551"/>
                        <a14:foregroundMark x1="54102" y1="66992" x2="54102" y2="66992"/>
                        <a14:foregroundMark x1="45996" y1="68164" x2="45996" y2="68164"/>
                        <a14:foregroundMark x1="39355" y1="68555" x2="39355" y2="68555"/>
                        <a14:foregroundMark x1="46973" y1="36426" x2="46973" y2="36426"/>
                        <a14:foregroundMark x1="60254" y1="58008" x2="60254" y2="58008"/>
                        <a14:backgroundMark x1="58301" y1="65918" x2="58301" y2="65918"/>
                        <a14:backgroundMark x1="58691" y1="68652" x2="58691" y2="68652"/>
                        <a14:backgroundMark x1="57422" y1="60352" x2="57422" y2="60352"/>
                        <a14:backgroundMark x1="57715" y1="60449" x2="57715" y2="60449"/>
                        <a14:backgroundMark x1="57617" y1="60254" x2="57617" y2="60254"/>
                        <a14:backgroundMark x1="57617" y1="60156" x2="57617" y2="601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121" y="5561570"/>
            <a:ext cx="1341746" cy="134174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31BB2CF-EE47-166A-ACFE-2232F3480B2A}"/>
              </a:ext>
            </a:extLst>
          </p:cNvPr>
          <p:cNvSpPr txBox="1"/>
          <p:nvPr/>
        </p:nvSpPr>
        <p:spPr>
          <a:xfrm>
            <a:off x="1308100" y="6045200"/>
            <a:ext cx="500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b="1" spc="600">
                <a:solidFill>
                  <a:schemeClr val="accent2">
                    <a:lumMod val="60000"/>
                    <a:lumOff val="40000"/>
                  </a:schemeClr>
                </a:solidFill>
                <a:cs typeface="+mn-ea"/>
              </a:defRPr>
            </a:lvl1pPr>
          </a:lstStyle>
          <a:p>
            <a:r>
              <a:rPr lang="zh-CN" altLang="en-US" dirty="0">
                <a:sym typeface="+mn-lt"/>
              </a:rPr>
              <a:t>组名</a:t>
            </a:r>
            <a:endParaRPr lang="en-US" altLang="zh-CN" dirty="0"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C90233-85F7-0052-F0A3-B753D0839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BF0FBBAA-AED5-E8D2-5E16-93D5C12C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2656" y="2422571"/>
            <a:ext cx="7486688" cy="1006429"/>
          </a:xfrm>
        </p:spPr>
        <p:txBody>
          <a:bodyPr wrap="square">
            <a:spAutoFit/>
          </a:bodyPr>
          <a:lstStyle/>
          <a:p>
            <a:pPr algn="ctr"/>
            <a:r>
              <a:rPr lang="zh-CN" altLang="en-US" sz="6600" dirty="0">
                <a:latin typeface="+mn-lt"/>
                <a:ea typeface="+mn-ea"/>
                <a:cs typeface="+mn-ea"/>
                <a:sym typeface="+mn-lt"/>
              </a:rPr>
              <a:t>硬件介绍</a:t>
            </a:r>
          </a:p>
        </p:txBody>
      </p:sp>
    </p:spTree>
    <p:extLst>
      <p:ext uri="{BB962C8B-B14F-4D97-AF65-F5344CB8AC3E}">
        <p14:creationId xmlns:p14="http://schemas.microsoft.com/office/powerpoint/2010/main" val="12127329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DF10A06A-006B-9876-A06C-68D4691361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6" name="圆: 空心 5">
            <a:extLst>
              <a:ext uri="{FF2B5EF4-FFF2-40B4-BE49-F238E27FC236}">
                <a16:creationId xmlns:a16="http://schemas.microsoft.com/office/drawing/2014/main" id="{15A44562-4787-8673-8BF9-0A7848851211}"/>
              </a:ext>
            </a:extLst>
          </p:cNvPr>
          <p:cNvSpPr/>
          <p:nvPr/>
        </p:nvSpPr>
        <p:spPr>
          <a:xfrm>
            <a:off x="-2813050" y="-5327650"/>
            <a:ext cx="19570700" cy="19570700"/>
          </a:xfrm>
          <a:prstGeom prst="donut">
            <a:avLst>
              <a:gd name="adj" fmla="val 39424"/>
            </a:avLst>
          </a:prstGeom>
          <a:solidFill>
            <a:srgbClr val="000000">
              <a:alpha val="80000"/>
            </a:srgbClr>
          </a:solidFill>
          <a:ln>
            <a:solidFill>
              <a:srgbClr val="FFFFFF">
                <a:alpha val="80000"/>
              </a:srgbClr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2022E21B-6944-2147-B11E-89A212FC5652}"/>
              </a:ext>
            </a:extLst>
          </p:cNvPr>
          <p:cNvGrpSpPr/>
          <p:nvPr/>
        </p:nvGrpSpPr>
        <p:grpSpPr>
          <a:xfrm>
            <a:off x="6832600" y="393700"/>
            <a:ext cx="5175790" cy="5039519"/>
            <a:chOff x="6832600" y="393700"/>
            <a:chExt cx="5175790" cy="5039519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707F0A5-8A61-DE0A-A98B-26BCAD0957C5}"/>
                </a:ext>
              </a:extLst>
            </p:cNvPr>
            <p:cNvGrpSpPr/>
            <p:nvPr/>
          </p:nvGrpSpPr>
          <p:grpSpPr>
            <a:xfrm>
              <a:off x="6832600" y="393700"/>
              <a:ext cx="5175790" cy="952500"/>
              <a:chOff x="1072848" y="1676184"/>
              <a:chExt cx="5023152" cy="924076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92A883D0-44BC-3C18-6F14-F6601A5F135F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TextBox 9">
                <a:extLst>
                  <a:ext uri="{FF2B5EF4-FFF2-40B4-BE49-F238E27FC236}">
                    <a16:creationId xmlns:a16="http://schemas.microsoft.com/office/drawing/2014/main" id="{55267DEA-0348-F596-AC52-87E608001670}"/>
                  </a:ext>
                </a:extLst>
              </p:cNvPr>
              <p:cNvSpPr txBox="1"/>
              <p:nvPr/>
            </p:nvSpPr>
            <p:spPr bwMode="auto">
              <a:xfrm>
                <a:off x="2174509" y="1968859"/>
                <a:ext cx="3233663" cy="398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400">
                  <a:defRPr/>
                </a:pP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片机最小系统</a:t>
                </a:r>
              </a:p>
            </p:txBody>
          </p:sp>
        </p:grp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5D65D59F-0C62-3099-8D7A-316FA574B38D}"/>
                </a:ext>
              </a:extLst>
            </p:cNvPr>
            <p:cNvSpPr txBox="1"/>
            <p:nvPr/>
          </p:nvSpPr>
          <p:spPr>
            <a:xfrm>
              <a:off x="9633699" y="1739900"/>
              <a:ext cx="2362200" cy="3693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extLst>
                  <a:ext uri="{35155182-B16C-46BC-9424-99874614C6A1}">
                    <wpsdc:indentchars xmlns:lc="http://schemas.openxmlformats.org/drawingml/2006/lockedCanvas" xmlns:wpsdc="http://www.wps.cn/officeDocument/2017/drawingmlCustomData" xmlns="" val="200" checksum="3837665281"/>
                  </a:ext>
                </a:extLst>
              </a:pPr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以单片机为控制核心的系统中，单独的单片机芯片无法单独承担整个程序的运行。为了确保单片机能够正常运行并保持稳定，需要为其构建一个核心支持系统，该系统就是单片机最小系统电路。单片机最小系统由单片机、晶振电路、复位电路构成。</a:t>
              </a: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77231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4C3E3A-222D-5EA5-7AE6-5888C97791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A05827DC-406E-0431-ECD9-7C99AE7D7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6" name="圆: 空心 5">
            <a:extLst>
              <a:ext uri="{FF2B5EF4-FFF2-40B4-BE49-F238E27FC236}">
                <a16:creationId xmlns:a16="http://schemas.microsoft.com/office/drawing/2014/main" id="{96F8F15C-6AE2-5874-075C-561E3EB6C8AB}"/>
              </a:ext>
            </a:extLst>
          </p:cNvPr>
          <p:cNvSpPr/>
          <p:nvPr/>
        </p:nvSpPr>
        <p:spPr>
          <a:xfrm>
            <a:off x="-3027107" y="-7754784"/>
            <a:ext cx="27463750" cy="27463750"/>
          </a:xfrm>
          <a:prstGeom prst="donut">
            <a:avLst>
              <a:gd name="adj" fmla="val 47456"/>
            </a:avLst>
          </a:prstGeom>
          <a:solidFill>
            <a:srgbClr val="000000">
              <a:alpha val="80000"/>
            </a:srgbClr>
          </a:solidFill>
          <a:ln>
            <a:solidFill>
              <a:srgbClr val="FFFFFF">
                <a:alpha val="80000"/>
              </a:srgbClr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6DDDD1F5-E064-CB57-83E0-1F16846A3E0B}"/>
              </a:ext>
            </a:extLst>
          </p:cNvPr>
          <p:cNvGrpSpPr/>
          <p:nvPr/>
        </p:nvGrpSpPr>
        <p:grpSpPr>
          <a:xfrm>
            <a:off x="5311547" y="1720819"/>
            <a:ext cx="5021336" cy="4338946"/>
            <a:chOff x="5311547" y="1720819"/>
            <a:chExt cx="5021336" cy="4338946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822A5B06-87B1-E15C-3290-4116F58BC36E}"/>
                </a:ext>
              </a:extLst>
            </p:cNvPr>
            <p:cNvGrpSpPr/>
            <p:nvPr/>
          </p:nvGrpSpPr>
          <p:grpSpPr>
            <a:xfrm>
              <a:off x="5311547" y="1720819"/>
              <a:ext cx="5021336" cy="924076"/>
              <a:chOff x="1072848" y="1676184"/>
              <a:chExt cx="5023152" cy="924076"/>
            </a:xfrm>
          </p:grpSpPr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CF30D4CC-FD7C-881F-41F9-7994F869F85A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TextBox 9">
                <a:extLst>
                  <a:ext uri="{FF2B5EF4-FFF2-40B4-BE49-F238E27FC236}">
                    <a16:creationId xmlns:a16="http://schemas.microsoft.com/office/drawing/2014/main" id="{C6045287-0ED6-8115-AFE3-CCD84EE8B657}"/>
                  </a:ext>
                </a:extLst>
              </p:cNvPr>
              <p:cNvSpPr txBox="1"/>
              <p:nvPr/>
            </p:nvSpPr>
            <p:spPr bwMode="auto">
              <a:xfrm>
                <a:off x="1967424" y="1968859"/>
                <a:ext cx="3233663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400">
                  <a:defRPr/>
                </a:pP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测温电路</a:t>
                </a: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DBEA0520-8648-F9B0-91CA-921CB2306341}"/>
                </a:ext>
              </a:extLst>
            </p:cNvPr>
            <p:cNvSpPr txBox="1"/>
            <p:nvPr/>
          </p:nvSpPr>
          <p:spPr>
            <a:xfrm>
              <a:off x="5918874" y="2781945"/>
              <a:ext cx="4414009" cy="32778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355600" defTabSz="914400" fontAlgn="auto">
                <a:lnSpc>
                  <a:spcPct val="150000"/>
                </a:lnSpc>
                <a:buClr>
                  <a:srgbClr val="0070C0"/>
                </a:buClr>
                <a:defRPr/>
                <a:extLst>
                  <a:ext uri="{35155182-B16C-46BC-9424-99874614C6A1}">
                    <wpsdc:indentchars xmlns:lc="http://schemas.openxmlformats.org/drawingml/2006/lockedCanvas" xmlns:wpsdc="http://www.wps.cn/officeDocument/2017/drawingmlCustomData" xmlns="" val="200" checksum="3837665281"/>
                  </a:ext>
                </a:extLst>
              </a:pPr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S18B20</a:t>
              </a:r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温度传感器</a:t>
              </a:r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是一款数字温度传感器，应用非常广泛，具有体积小，硬件资源耗费少，抗干扰能力强，精度高等特点，通过单总线接口与其它设备通信，实现了简单而可靠的温度测量。其数字输出特性使得温度数据的获取和处理变得相当简单</a:t>
              </a:r>
            </a:p>
            <a:p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0604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41CBE-869D-6D87-32AC-69EC15DD2A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7C3D1BF5-D055-540D-3A67-467ABC6D4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2" name="图文框 1">
            <a:extLst>
              <a:ext uri="{FF2B5EF4-FFF2-40B4-BE49-F238E27FC236}">
                <a16:creationId xmlns:a16="http://schemas.microsoft.com/office/drawing/2014/main" id="{D79F5DE6-780B-6C95-25DB-63137888FD0F}"/>
              </a:ext>
            </a:extLst>
          </p:cNvPr>
          <p:cNvSpPr/>
          <p:nvPr/>
        </p:nvSpPr>
        <p:spPr>
          <a:xfrm>
            <a:off x="-2989008" y="-4380273"/>
            <a:ext cx="17265447" cy="11577486"/>
          </a:xfrm>
          <a:prstGeom prst="frame">
            <a:avLst>
              <a:gd name="adj1" fmla="val 40477"/>
            </a:avLst>
          </a:prstGeom>
          <a:solidFill>
            <a:srgbClr val="000000">
              <a:alpha val="80000"/>
            </a:srgbClr>
          </a:solidFill>
          <a:ln>
            <a:solidFill>
              <a:schemeClr val="bg1"/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28C4606-717B-2CB0-79FD-26AA11E48BF5}"/>
              </a:ext>
            </a:extLst>
          </p:cNvPr>
          <p:cNvGrpSpPr/>
          <p:nvPr/>
        </p:nvGrpSpPr>
        <p:grpSpPr>
          <a:xfrm>
            <a:off x="324465" y="2966962"/>
            <a:ext cx="5456903" cy="3577369"/>
            <a:chOff x="324465" y="2966962"/>
            <a:chExt cx="5456903" cy="3577369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D353747E-8370-7482-93BF-11C24D581649}"/>
                </a:ext>
              </a:extLst>
            </p:cNvPr>
            <p:cNvGrpSpPr/>
            <p:nvPr/>
          </p:nvGrpSpPr>
          <p:grpSpPr>
            <a:xfrm>
              <a:off x="356090" y="2966962"/>
              <a:ext cx="5021336" cy="924076"/>
              <a:chOff x="1072848" y="1676184"/>
              <a:chExt cx="5023152" cy="924076"/>
            </a:xfrm>
          </p:grpSpPr>
          <p:sp>
            <p:nvSpPr>
              <p:cNvPr id="4" name="矩形 3">
                <a:extLst>
                  <a:ext uri="{FF2B5EF4-FFF2-40B4-BE49-F238E27FC236}">
                    <a16:creationId xmlns:a16="http://schemas.microsoft.com/office/drawing/2014/main" id="{7C2884C4-7C65-1A4A-5457-40711CEFF17B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TextBox 9">
                <a:extLst>
                  <a:ext uri="{FF2B5EF4-FFF2-40B4-BE49-F238E27FC236}">
                    <a16:creationId xmlns:a16="http://schemas.microsoft.com/office/drawing/2014/main" id="{011916C3-239F-5239-A493-A3E00E024B7A}"/>
                  </a:ext>
                </a:extLst>
              </p:cNvPr>
              <p:cNvSpPr txBox="1"/>
              <p:nvPr/>
            </p:nvSpPr>
            <p:spPr bwMode="auto">
              <a:xfrm>
                <a:off x="2069523" y="1968919"/>
                <a:ext cx="3182501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400">
                  <a:defRPr/>
                </a:pP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显示电路</a:t>
                </a:r>
              </a:p>
            </p:txBody>
          </p:sp>
        </p:grp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FA74F79-70E3-E15C-E608-FE9222EAFDAC}"/>
                </a:ext>
              </a:extLst>
            </p:cNvPr>
            <p:cNvSpPr txBox="1"/>
            <p:nvPr/>
          </p:nvSpPr>
          <p:spPr>
            <a:xfrm>
              <a:off x="324465" y="4513006"/>
              <a:ext cx="5456903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extLst>
                  <a:ext uri="{35155182-B16C-46BC-9424-99874614C6A1}">
                    <wpsdc:indentchars xmlns:lc="http://schemas.openxmlformats.org/drawingml/2006/lockedCanvas" xmlns:wpsdc="http://www.wps.cn/officeDocument/2017/drawingmlCustomData" xmlns="" val="200" checksum="3837665281"/>
                  </a:ext>
                </a:extLst>
              </a:pPr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CD1602液晶显示器进行硬件电路设计时，需要查阅LCD1602液晶显示器的各个引脚，以确定各个引脚的具体功能。为了能够确保液晶显示器的显示清晰度，在进行设计电路的过程当中，还需要在VO引脚连接10kΩ可调电位器，通过调节电位器接入阻值，实现液晶显示器对比度的调节。</a:t>
              </a: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683683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136DCC-958F-731F-530C-ADB3A7317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DBA07F39-937E-474A-7F53-2D815576B7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6" name="圆: 空心 5">
            <a:extLst>
              <a:ext uri="{FF2B5EF4-FFF2-40B4-BE49-F238E27FC236}">
                <a16:creationId xmlns:a16="http://schemas.microsoft.com/office/drawing/2014/main" id="{0B525B1C-246D-B736-93D0-C52B327664EB}"/>
              </a:ext>
            </a:extLst>
          </p:cNvPr>
          <p:cNvSpPr/>
          <p:nvPr/>
        </p:nvSpPr>
        <p:spPr>
          <a:xfrm>
            <a:off x="-13549878" y="-9368709"/>
            <a:ext cx="29537128" cy="29537128"/>
          </a:xfrm>
          <a:prstGeom prst="donut">
            <a:avLst>
              <a:gd name="adj" fmla="val 46873"/>
            </a:avLst>
          </a:prstGeom>
          <a:solidFill>
            <a:srgbClr val="000000">
              <a:alpha val="80000"/>
            </a:srgbClr>
          </a:solidFill>
          <a:ln>
            <a:solidFill>
              <a:srgbClr val="FFFFFF">
                <a:alpha val="80000"/>
              </a:srgbClr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61B5CD60-1694-599F-F963-558D36AB1785}"/>
              </a:ext>
            </a:extLst>
          </p:cNvPr>
          <p:cNvGrpSpPr/>
          <p:nvPr/>
        </p:nvGrpSpPr>
        <p:grpSpPr>
          <a:xfrm>
            <a:off x="2421332" y="1631391"/>
            <a:ext cx="6929613" cy="4163990"/>
            <a:chOff x="2450361" y="1573334"/>
            <a:chExt cx="6929613" cy="4163990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36320490-C29B-271E-F380-753CE40D38AF}"/>
                </a:ext>
              </a:extLst>
            </p:cNvPr>
            <p:cNvGrpSpPr/>
            <p:nvPr/>
          </p:nvGrpSpPr>
          <p:grpSpPr>
            <a:xfrm>
              <a:off x="2450361" y="1573334"/>
              <a:ext cx="5021336" cy="924076"/>
              <a:chOff x="1072848" y="1676184"/>
              <a:chExt cx="5023152" cy="924076"/>
            </a:xfrm>
          </p:grpSpPr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50126116-3C32-127B-9217-FCC2AFC8D300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TextBox 9">
                <a:extLst>
                  <a:ext uri="{FF2B5EF4-FFF2-40B4-BE49-F238E27FC236}">
                    <a16:creationId xmlns:a16="http://schemas.microsoft.com/office/drawing/2014/main" id="{36F4AF81-8B48-03AC-C781-65215950E14C}"/>
                  </a:ext>
                </a:extLst>
              </p:cNvPr>
              <p:cNvSpPr txBox="1"/>
              <p:nvPr/>
            </p:nvSpPr>
            <p:spPr bwMode="auto">
              <a:xfrm>
                <a:off x="2054450" y="1968859"/>
                <a:ext cx="3233663" cy="398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400">
                  <a:defRPr/>
                </a:pP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报警电路</a:t>
                </a: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C0ADBF9-79A8-75A7-B69C-47F0E0499673}"/>
                </a:ext>
              </a:extLst>
            </p:cNvPr>
            <p:cNvSpPr txBox="1"/>
            <p:nvPr/>
          </p:nvSpPr>
          <p:spPr>
            <a:xfrm>
              <a:off x="2713703" y="3429000"/>
              <a:ext cx="6666271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extLst>
                  <a:ext uri="{35155182-B16C-46BC-9424-99874614C6A1}">
                    <wpsdc:indentchars xmlns:lc="http://schemas.openxmlformats.org/drawingml/2006/lockedCanvas" xmlns:wpsdc="http://www.wps.cn/officeDocument/2017/drawingmlCustomData" xmlns="" val="200" checksum="3837665281"/>
                  </a:ext>
                </a:extLst>
              </a:pPr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设计报警模块时，选择了蜂鸣器作为主要的报警单元模块，作为报警电路。蜂鸣器是一种常用的报警单元，分为有源蜂鸣器和无源蜂鸣器两种类型。有源蜂鸣器内部含有振荡电路，可以实现自动发声的功能。而无源蜂鸣器则不具备震荡电路，需要外部驱动报警电路才能实现报警功能。在使用无源蜂鸣器时，需要较为复杂的电路进行驱动。因此，综合考虑选择了有源蜂鸣器作为本系统的蜂鸣器。</a:t>
              </a:r>
            </a:p>
            <a:p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88423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511B64-F724-66C0-5408-74615D1928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1FEFD1FB-05F6-CA79-11B2-A747672959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7000" y="-2667000"/>
            <a:ext cx="6857999" cy="12192000"/>
          </a:xfrm>
          <a:prstGeom prst="rect">
            <a:avLst/>
          </a:prstGeom>
        </p:spPr>
      </p:pic>
      <p:sp>
        <p:nvSpPr>
          <p:cNvPr id="6" name="圆: 空心 5">
            <a:extLst>
              <a:ext uri="{FF2B5EF4-FFF2-40B4-BE49-F238E27FC236}">
                <a16:creationId xmlns:a16="http://schemas.microsoft.com/office/drawing/2014/main" id="{5B92DFF9-7F3D-E274-2564-250C482498C9}"/>
              </a:ext>
            </a:extLst>
          </p:cNvPr>
          <p:cNvSpPr/>
          <p:nvPr/>
        </p:nvSpPr>
        <p:spPr>
          <a:xfrm>
            <a:off x="-7060586" y="-5524500"/>
            <a:ext cx="21374100" cy="21374100"/>
          </a:xfrm>
          <a:prstGeom prst="donut">
            <a:avLst>
              <a:gd name="adj" fmla="val 42799"/>
            </a:avLst>
          </a:prstGeom>
          <a:solidFill>
            <a:srgbClr val="000000">
              <a:alpha val="80000"/>
            </a:srgbClr>
          </a:solidFill>
          <a:ln>
            <a:solidFill>
              <a:srgbClr val="FFFFFF">
                <a:alpha val="80000"/>
              </a:srgbClr>
            </a:solidFill>
          </a:ln>
          <a:effectLst>
            <a:softEdge rad="254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168FD49-1D3B-FEEE-6A38-5C52559D1CB1}"/>
              </a:ext>
            </a:extLst>
          </p:cNvPr>
          <p:cNvGrpSpPr/>
          <p:nvPr/>
        </p:nvGrpSpPr>
        <p:grpSpPr>
          <a:xfrm>
            <a:off x="5592834" y="1569504"/>
            <a:ext cx="5524501" cy="3613822"/>
            <a:chOff x="5592834" y="1569504"/>
            <a:chExt cx="5524501" cy="3613822"/>
          </a:xfrm>
        </p:grpSpPr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8D5C65CA-3FA8-8709-CA81-D72299073390}"/>
                </a:ext>
              </a:extLst>
            </p:cNvPr>
            <p:cNvGrpSpPr/>
            <p:nvPr/>
          </p:nvGrpSpPr>
          <p:grpSpPr>
            <a:xfrm>
              <a:off x="5720753" y="1569504"/>
              <a:ext cx="5021336" cy="924076"/>
              <a:chOff x="1072848" y="1676184"/>
              <a:chExt cx="5023152" cy="924076"/>
            </a:xfrm>
          </p:grpSpPr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693DBCF5-0C22-6A63-5DBC-8ED585503843}"/>
                  </a:ext>
                </a:extLst>
              </p:cNvPr>
              <p:cNvSpPr/>
              <p:nvPr/>
            </p:nvSpPr>
            <p:spPr>
              <a:xfrm>
                <a:off x="1072848" y="1676184"/>
                <a:ext cx="5023152" cy="924076"/>
              </a:xfrm>
              <a:prstGeom prst="rect">
                <a:avLst/>
              </a:prstGeom>
              <a:gradFill flip="none" rotWithShape="1">
                <a:gsLst>
                  <a:gs pos="97101">
                    <a:srgbClr val="20AEE5"/>
                  </a:gs>
                  <a:gs pos="0">
                    <a:schemeClr val="accent5">
                      <a:lumMod val="5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zh-CN" alt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TextBox 9">
                <a:extLst>
                  <a:ext uri="{FF2B5EF4-FFF2-40B4-BE49-F238E27FC236}">
                    <a16:creationId xmlns:a16="http://schemas.microsoft.com/office/drawing/2014/main" id="{6410DE90-AEDC-E5F2-8F7F-DEB772EC109E}"/>
                  </a:ext>
                </a:extLst>
              </p:cNvPr>
              <p:cNvSpPr txBox="1"/>
              <p:nvPr/>
            </p:nvSpPr>
            <p:spPr bwMode="auto">
              <a:xfrm>
                <a:off x="2174509" y="1968859"/>
                <a:ext cx="3233663" cy="398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914400">
                  <a:defRPr/>
                </a:pPr>
                <a:r>
                  <a:rPr lang="zh-CN" altLang="en-US" sz="2000" b="1" spc="6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按键检测电路</a:t>
                </a: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5488FBA-E98D-B55A-31E7-C2265A6FE37E}"/>
                </a:ext>
              </a:extLst>
            </p:cNvPr>
            <p:cNvSpPr txBox="1"/>
            <p:nvPr/>
          </p:nvSpPr>
          <p:spPr>
            <a:xfrm>
              <a:off x="5592834" y="3429000"/>
              <a:ext cx="5524501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独立按键内部结构是一个有弹性的金属片，按下接通电路，松开后恢复，电路断开。独立按键使用时候一个引脚直接与GND连接，另一个引脚与单片机IO端口连接。单片机不断扫描检测按键IO端口电平，按键没有按下时，单片机检测连接按键的引脚为高电平，当按键按下，检测的引脚电平变为低电平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47762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9f18d5fd-e32c-48ad-aa48-e7ba99fe7d2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_TYPE" val="OfficePlusSmartComponent"/>
  <p:tag name="OP_SCP_TAG_VERSION" val="1.0"/>
  <p:tag name="OP_SCP_CHANGE_COLOR" val="N"/>
  <p:tag name="OP_SCP_COMPONENT_TYPE" val="Relation"/>
  <p:tag name="OP_SCP_CONTENT_ID" val="MatlComponentContent-118"/>
  <p:tag name="OP_SCP_COMPONENT_INFO" val="{&quot;title&quot;:&quot;扁平1项图文PPT组件&quot;,&quot;description&quot;:&quot;扁平1项图文PPT组件&quot;,&quot;keywords&quot;:[&quot;扁平&quot;,&quot;1项&quot;,&quot;图文&quot;,&quot;PPT组件&quot;],&quot;labels&quot;:[]}"/>
  <p:tag name="OP_SCP_GROUP_ID" val="14157fb1-7db6-06b3-5eb2-6c3b5cb781c9"/>
  <p:tag name="OP_SCP_ITEM_COUNT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P_SCP_ITEM_INDEX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P_SCP_ITEM_INDEX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P_SCP_SHAPE_TYPE" val="Body"/>
  <p:tag name="OP_SCP_ITEM_INDEX" val="1"/>
  <p:tag name="OP_SCP_DEFAULT_TEXT" val="单击此处添加文本，单击此处添加文本，单击此处添加文本，单击此处添加文本，单击此处添加文本，单击此处添加文本。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P_SCP_SHAPE_TYPE" val="Title"/>
  <p:tag name="OP_SCP_ITEM_INDEX" val="1"/>
  <p:tag name="OP_SCP_DEFAULT_TEXT" val="添加标题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qzz3owr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0C64E8-B197-46DE-82DB-8BF69275F43D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E144D60-786B-49A7-A66F-179A2784D4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E68599-D7D3-4254-A3D4-DA6676EAF96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科技</Template>
  <TotalTime>3419</TotalTime>
  <Words>1212</Words>
  <Application>Microsoft Office PowerPoint</Application>
  <PresentationFormat>宽屏</PresentationFormat>
  <Paragraphs>111</Paragraphs>
  <Slides>2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8</vt:i4>
      </vt:variant>
    </vt:vector>
  </HeadingPairs>
  <TitlesOfParts>
    <vt:vector size="37" baseType="lpstr">
      <vt:lpstr>-apple-system</vt:lpstr>
      <vt:lpstr>等线</vt:lpstr>
      <vt:lpstr>微软雅黑</vt:lpstr>
      <vt:lpstr>Arial</vt:lpstr>
      <vt:lpstr>Calibri</vt:lpstr>
      <vt:lpstr>Wingdings</vt:lpstr>
      <vt:lpstr>OfficePLUS主题</vt:lpstr>
      <vt:lpstr>think-cell Slide</vt:lpstr>
      <vt:lpstr>Visio.Drawing.11</vt:lpstr>
      <vt:lpstr> 基于DS18B20的 月之暗面温度采集系统</vt:lpstr>
      <vt:lpstr>PowerPoint 演示文稿</vt:lpstr>
      <vt:lpstr>感知层</vt:lpstr>
      <vt:lpstr>硬件介绍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代码层</vt:lpstr>
      <vt:lpstr>月之暗面温度采集系统 –后端代码部分</vt:lpstr>
      <vt:lpstr>月之暗面温度采集系统 –MySQL数据库展示</vt:lpstr>
      <vt:lpstr>月之暗面温度采集系统 –单片机部分展示</vt:lpstr>
      <vt:lpstr>月之暗面温度采集系统 –Python部分展示</vt:lpstr>
      <vt:lpstr>月之暗面温度采集系统 –C语言部分展示</vt:lpstr>
      <vt:lpstr>月之暗面温度采集系统 –C语言部分展示</vt:lpstr>
      <vt:lpstr>功能演示</vt:lpstr>
      <vt:lpstr>网络层</vt:lpstr>
      <vt:lpstr>月之暗面温度采集系统 –ENSP拓补图展示</vt:lpstr>
      <vt:lpstr>功能演示</vt:lpstr>
      <vt:lpstr>前端页面层</vt:lpstr>
      <vt:lpstr>月之暗面温度采集系统 –前端页面展示</vt:lpstr>
      <vt:lpstr>前端页面演示</vt:lpstr>
      <vt:lpstr>PowerPoint 演示文稿</vt:lpstr>
      <vt:lpstr>本次项目开发总结</vt:lpstr>
      <vt:lpstr>月之暗面温度采集系统 –项目开发总结</vt:lpstr>
      <vt:lpstr>感谢观看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凡旭 孟</cp:lastModifiedBy>
  <cp:revision>12</cp:revision>
  <cp:lastPrinted>2019-11-25T16:00:00Z</cp:lastPrinted>
  <dcterms:created xsi:type="dcterms:W3CDTF">2019-11-25T16:00:00Z</dcterms:created>
  <dcterms:modified xsi:type="dcterms:W3CDTF">2024-12-26T00:3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145</vt:lpwstr>
  </property>
  <property fmtid="{D5CDD505-2E9C-101B-9397-08002B2CF9AE}" pid="4" name="ContentTypeId">
    <vt:lpwstr>0x010100D1443A8EF62DE444B1FF07917E22EF72</vt:lpwstr>
  </property>
</Properties>
</file>